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Slides/notesSlide8.xml" ContentType="application/vnd.openxmlformats-officedocument.presentationml.notes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9.xml" ContentType="application/vnd.openxmlformats-officedocument.presentationml.notesSlide+xml"/>
  <Override PartName="/ppt/slideLayouts/slideLayout5.xml" ContentType="application/vnd.openxmlformats-officedocument.presentationml.slideLayou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charts/chart5.xml" ContentType="application/vnd.openxmlformats-officedocument.drawingml.chart+xml"/>
  <Override PartName="/ppt/theme/theme2.xml" ContentType="application/vnd.openxmlformats-officedocument.theme+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charts/chart6.xml" ContentType="application/vnd.openxmlformats-officedocument.drawingml.chart+xml"/>
  <Override PartName="/ppt/theme/themeOverride4.xml" ContentType="application/vnd.openxmlformats-officedocument.themeOverride+xml"/>
  <Override PartName="/ppt/charts/colors2.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authors.xml" ContentType="application/vnd.ms-powerpoint.authors+xml"/>
  <Override PartName="/ppt/theme/themeOverride1.xml" ContentType="application/vnd.openxmlformats-officedocument.themeOverride+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hart2.xml" ContentType="application/vnd.openxmlformats-officedocument.drawingml.chart+xml"/>
  <Override PartName="/ppt/charts/colors4.xml" ContentType="application/vnd.ms-office.chartcolorstyle+xml"/>
  <Override PartName="/ppt/charts/style2.xml" ContentType="application/vnd.ms-office.chartstyl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Override PartName="/customXml/itemProps5.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7"/>
  </p:notesMasterIdLst>
  <p:sldIdLst>
    <p:sldId id="2147482656" r:id="rId5"/>
    <p:sldId id="280" r:id="rId6"/>
    <p:sldId id="264" r:id="rId7"/>
    <p:sldId id="262" r:id="rId8"/>
    <p:sldId id="277" r:id="rId9"/>
    <p:sldId id="278" r:id="rId10"/>
    <p:sldId id="2147482651" r:id="rId11"/>
    <p:sldId id="2147482552" r:id="rId12"/>
    <p:sldId id="2147482654" r:id="rId13"/>
    <p:sldId id="2147482650" r:id="rId14"/>
    <p:sldId id="2147482652" r:id="rId15"/>
    <p:sldId id="2147482649"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735B411-5879-A354-E2B5-5D01960BD5A3}" name="Belinda Ernst" initials="BE" userId="S::Belinda.Ernst@sira.nsw.gov.au::f5c1df97-14f2-4145-93fd-f17337fb8ca6" providerId="AD"/>
  <p188:author id="{7A8A181A-4689-8E93-BB64-111B4D90DC2A}" name="Vivian Tse" initials="VT" userId="S::Vivian.Tse@au.ey.com::92b87069-6c6e-4dc1-8190-e0b9f7c7c0df" providerId="AD"/>
  <p188:author id="{6B12A679-4D11-7939-18D8-63CCEB4DED9F}" name="Ning An" initials="NA" userId="S::ning.an@au.ey.com::6140bb3f-6629-43fd-a5d3-ea378a73553c" providerId="AD"/>
  <p188:author id="{861ABF8C-D139-B5EB-DA21-FFE59179743B}" name="Anjali Satheesh" initials="AS" userId="S::Anjali.Satheesh@au.ey.com::ef6133d2-1144-44dd-af18-df0647064cc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5CD7"/>
    <a:srgbClr val="3C69FF"/>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11" autoAdjust="0"/>
    <p:restoredTop sz="61501" autoAdjust="0"/>
  </p:normalViewPr>
  <p:slideViewPr>
    <p:cSldViewPr snapToGrid="0">
      <p:cViewPr varScale="1">
        <p:scale>
          <a:sx n="60" d="100"/>
          <a:sy n="60" d="100"/>
        </p:scale>
        <p:origin x="1998" y="282"/>
      </p:cViewPr>
      <p:guideLst/>
    </p:cSldViewPr>
  </p:slideViewPr>
  <p:notesTextViewPr>
    <p:cViewPr>
      <p:scale>
        <a:sx n="100" d="100"/>
        <a:sy n="100" d="100"/>
      </p:scale>
      <p:origin x="0" y="0"/>
    </p:cViewPr>
  </p:notesTextViewPr>
  <p:notesViewPr>
    <p:cSldViewPr snapToGrid="0">
      <p:cViewPr>
        <p:scale>
          <a:sx n="66" d="100"/>
          <a:sy n="66" d="100"/>
        </p:scale>
        <p:origin x="1792" y="-2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ustomXml" Target="../customXml/item5.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ustomXml" Target="../customXml/item4.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eyaustralia.sharepoint.com/sites/ASGISIRAMAIR/Shared%20Documents/Adhoc/2024/202405%20Micro-mobility/04_Modelling/MMD%20Costing%20v03.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eyaustralia.sharepoint.com/sites/ASGISIRAMAIR/Shared%20Documents/Adhoc/2024/202405%20Micro-mobility/04_Modelling/MMD%20Costing%20v03_NA.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eyaustralia.sharepoint.com/sites/ASGISIRAMAIR/Shared%20Documents/Adhoc/2024/202405%20Micro-mobility/04_Modelling/MMD%20Costing%20v03_NA.xlsx" TargetMode="External"/></Relationships>
</file>

<file path=ppt/charts/_rels/chart6.xml.rels><?xml version="1.0" encoding="UTF-8" standalone="yes"?>
<Relationships xmlns="http://schemas.openxmlformats.org/package/2006/relationships"><Relationship Id="rId2" Type="http://schemas.openxmlformats.org/officeDocument/2006/relationships/oleObject" Target="https://eyaustralia.sharepoint.com/sites/ASGISIRAMAIR/Shared%20Documents/Adhoc/2024/202405%20Micro-mobility/04_Modelling/MMD%20Costing%20v03_NA.xlsx" TargetMode="External"/><Relationship Id="rId1" Type="http://schemas.openxmlformats.org/officeDocument/2006/relationships/themeOverride" Target="../theme/themeOverride4.xml"/></Relationships>
</file>

<file path=ppt/charts/_rels/chart7.xml.rels><?xml version="1.0" encoding="UTF-8" standalone="yes"?>
<Relationships xmlns="http://schemas.openxmlformats.org/package/2006/relationships"><Relationship Id="rId3" Type="http://schemas.openxmlformats.org/officeDocument/2006/relationships/oleObject" Target="https://eyaustralia.sharepoint.com/sites/ASGISIRAMAIR/Shared%20Documents/Adhoc/2024/202405%20Micro-mobility/04_Modelling/MMD%20Costing%20v04_Final_IDSS%20adjusted%20for%20exposure.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238910761154856"/>
          <c:y val="5.0925925925925923E-2"/>
          <c:w val="0.52084620876205945"/>
          <c:h val="0.90249999999999997"/>
        </c:manualLayout>
      </c:layout>
      <c:barChart>
        <c:barDir val="bar"/>
        <c:grouping val="clustered"/>
        <c:varyColors val="0"/>
        <c:ser>
          <c:idx val="0"/>
          <c:order val="0"/>
          <c:spPr>
            <a:solidFill>
              <a:schemeClr val="tx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EYInterstate Light" panose="02000506000000020004"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MD Costing v03.xlsx]User pattern'!$Z$11:$Z$15</c:f>
              <c:strCache>
                <c:ptCount val="5"/>
                <c:pt idx="0">
                  <c:v>64+</c:v>
                </c:pt>
                <c:pt idx="1">
                  <c:v>55 - 64</c:v>
                </c:pt>
                <c:pt idx="2">
                  <c:v>45 - 54</c:v>
                </c:pt>
                <c:pt idx="3">
                  <c:v>35 - 44</c:v>
                </c:pt>
                <c:pt idx="4">
                  <c:v>Under 35</c:v>
                </c:pt>
              </c:strCache>
            </c:strRef>
          </c:cat>
          <c:val>
            <c:numRef>
              <c:f>'[MMD Costing v03.xlsx]User pattern'!$AB$11:$AB$15</c:f>
              <c:numCache>
                <c:formatCode>0%</c:formatCode>
                <c:ptCount val="5"/>
                <c:pt idx="0">
                  <c:v>0.23288814691151921</c:v>
                </c:pt>
                <c:pt idx="1">
                  <c:v>0.1686143572621035</c:v>
                </c:pt>
                <c:pt idx="2">
                  <c:v>0.14941569282136896</c:v>
                </c:pt>
                <c:pt idx="3">
                  <c:v>0.17946577629382304</c:v>
                </c:pt>
                <c:pt idx="4">
                  <c:v>0.26961602671118529</c:v>
                </c:pt>
              </c:numCache>
            </c:numRef>
          </c:val>
          <c:extLst>
            <c:ext xmlns:c16="http://schemas.microsoft.com/office/drawing/2014/chart" uri="{C3380CC4-5D6E-409C-BE32-E72D297353CC}">
              <c16:uniqueId val="{00000000-70F0-423D-968F-564FF6343516}"/>
            </c:ext>
          </c:extLst>
        </c:ser>
        <c:dLbls>
          <c:showLegendKey val="0"/>
          <c:showVal val="0"/>
          <c:showCatName val="0"/>
          <c:showSerName val="0"/>
          <c:showPercent val="0"/>
          <c:showBubbleSize val="0"/>
        </c:dLbls>
        <c:gapWidth val="20"/>
        <c:axId val="987683696"/>
        <c:axId val="987684176"/>
      </c:barChart>
      <c:catAx>
        <c:axId val="9876836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rgbClr val="2E2E38"/>
                </a:solidFill>
                <a:latin typeface="+mj-lt"/>
                <a:ea typeface="+mn-ea"/>
                <a:cs typeface="+mn-cs"/>
              </a:defRPr>
            </a:pPr>
            <a:endParaRPr lang="en-US"/>
          </a:p>
        </c:txPr>
        <c:crossAx val="987684176"/>
        <c:crosses val="autoZero"/>
        <c:auto val="1"/>
        <c:lblAlgn val="ctr"/>
        <c:lblOffset val="100"/>
        <c:noMultiLvlLbl val="0"/>
      </c:catAx>
      <c:valAx>
        <c:axId val="987684176"/>
        <c:scaling>
          <c:orientation val="minMax"/>
        </c:scaling>
        <c:delete val="1"/>
        <c:axPos val="b"/>
        <c:numFmt formatCode="0%" sourceLinked="1"/>
        <c:majorTickMark val="none"/>
        <c:minorTickMark val="none"/>
        <c:tickLblPos val="nextTo"/>
        <c:crossAx val="9876836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latin typeface="EYInterstate Light" panose="02000506000000020004" pitchFamily="2"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605487045073693"/>
          <c:y val="2.771362586605081E-2"/>
          <c:w val="0.68504640570618314"/>
          <c:h val="0.87853082873236032"/>
        </c:manualLayout>
      </c:layout>
      <c:barChart>
        <c:barDir val="bar"/>
        <c:grouping val="clustered"/>
        <c:varyColors val="0"/>
        <c:ser>
          <c:idx val="1"/>
          <c:order val="1"/>
          <c:tx>
            <c:strRef>
              <c:f>'[MMD Costing v03_NA.xlsx]Exec Sum'!$L$7</c:f>
              <c:strCache>
                <c:ptCount val="1"/>
                <c:pt idx="0">
                  <c:v>Claim frequency</c:v>
                </c:pt>
              </c:strCache>
            </c:strRef>
          </c:tx>
          <c:spPr>
            <a:solidFill>
              <a:srgbClr val="3C69FF"/>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MD Costing v03_NA.xlsx]Exec Sum'!$J$8:$J$14</c:f>
              <c:strCache>
                <c:ptCount val="7"/>
                <c:pt idx="0">
                  <c:v>Pedal cycle*</c:v>
                </c:pt>
                <c:pt idx="1">
                  <c:v>Motor vehicle</c:v>
                </c:pt>
                <c:pt idx="2">
                  <c:v>E-bike private use</c:v>
                </c:pt>
                <c:pt idx="3">
                  <c:v>E-bike shared scheme</c:v>
                </c:pt>
                <c:pt idx="4">
                  <c:v>Motorcycle </c:v>
                </c:pt>
                <c:pt idx="5">
                  <c:v>E-scooter private use</c:v>
                </c:pt>
                <c:pt idx="6">
                  <c:v>E-scooter shared scheme</c:v>
                </c:pt>
              </c:strCache>
            </c:strRef>
          </c:cat>
          <c:val>
            <c:numRef>
              <c:f>'[MMD Costing v03_NA.xlsx]Exec Sum'!$L$8:$L$14</c:f>
              <c:numCache>
                <c:formatCode>0.00%</c:formatCode>
                <c:ptCount val="7"/>
                <c:pt idx="0">
                  <c:v>3.8439612346282271E-4</c:v>
                </c:pt>
                <c:pt idx="1">
                  <c:v>1.5080436496469102E-3</c:v>
                </c:pt>
                <c:pt idx="2">
                  <c:v>2.0270313274499377E-3</c:v>
                </c:pt>
                <c:pt idx="3">
                  <c:v>4.2684601991493879E-3</c:v>
                </c:pt>
                <c:pt idx="4">
                  <c:v>5.4987338096947336E-3</c:v>
                </c:pt>
                <c:pt idx="5">
                  <c:v>7.9695758999999977E-3</c:v>
                </c:pt>
                <c:pt idx="6">
                  <c:v>1.5939151799999999E-2</c:v>
                </c:pt>
              </c:numCache>
            </c:numRef>
          </c:val>
          <c:extLst>
            <c:ext xmlns:c16="http://schemas.microsoft.com/office/drawing/2014/chart" uri="{C3380CC4-5D6E-409C-BE32-E72D297353CC}">
              <c16:uniqueId val="{00000000-C6DD-45E4-A99D-AF7743239478}"/>
            </c:ext>
          </c:extLst>
        </c:ser>
        <c:dLbls>
          <c:showLegendKey val="0"/>
          <c:showVal val="0"/>
          <c:showCatName val="0"/>
          <c:showSerName val="0"/>
          <c:showPercent val="0"/>
          <c:showBubbleSize val="0"/>
        </c:dLbls>
        <c:gapWidth val="50"/>
        <c:axId val="1572090832"/>
        <c:axId val="1572099952"/>
      </c:barChart>
      <c:barChart>
        <c:barDir val="bar"/>
        <c:grouping val="clustered"/>
        <c:varyColors val="0"/>
        <c:ser>
          <c:idx val="0"/>
          <c:order val="0"/>
          <c:tx>
            <c:strRef>
              <c:f>'[MMD Costing v03_NA.xlsx]Exec Sum'!$K$7</c:f>
              <c:strCache>
                <c:ptCount val="1"/>
                <c:pt idx="0">
                  <c:v>Injury frequency</c:v>
                </c:pt>
              </c:strCache>
            </c:strRef>
          </c:tx>
          <c:spPr>
            <a:solidFill>
              <a:schemeClr val="bg1">
                <a:lumMod val="85000"/>
              </a:schemeClr>
            </a:solidFill>
            <a:ln>
              <a:noFill/>
            </a:ln>
            <a:effectLst/>
          </c:spPr>
          <c:invertIfNegative val="0"/>
          <c:dLbls>
            <c:dLbl>
              <c:idx val="6"/>
              <c:layout>
                <c:manualLayout>
                  <c:x val="-5.2013616372958107E-2"/>
                  <c:y val="6.7834234151448792E-1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6DD-45E4-A99D-AF7743239478}"/>
                </c:ext>
              </c:extLst>
            </c:dLbl>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MD Costing v03_NA.xlsx]Exec Sum'!$J$8:$J$14</c:f>
              <c:strCache>
                <c:ptCount val="7"/>
                <c:pt idx="0">
                  <c:v>Pedal cycle*</c:v>
                </c:pt>
                <c:pt idx="1">
                  <c:v>Motor vehicle</c:v>
                </c:pt>
                <c:pt idx="2">
                  <c:v>E-bike private use</c:v>
                </c:pt>
                <c:pt idx="3">
                  <c:v>E-bike shared scheme</c:v>
                </c:pt>
                <c:pt idx="4">
                  <c:v>Motorcycle </c:v>
                </c:pt>
                <c:pt idx="5">
                  <c:v>E-scooter private use</c:v>
                </c:pt>
                <c:pt idx="6">
                  <c:v>E-scooter shared scheme</c:v>
                </c:pt>
              </c:strCache>
            </c:strRef>
          </c:cat>
          <c:val>
            <c:numRef>
              <c:f>'[MMD Costing v03_NA.xlsx]Exec Sum'!$K$8:$K$14</c:f>
              <c:numCache>
                <c:formatCode>0.00%</c:formatCode>
                <c:ptCount val="7"/>
                <c:pt idx="0">
                  <c:v>6.7666666666666667E-4</c:v>
                </c:pt>
                <c:pt idx="1">
                  <c:v>2.8658465342498141E-3</c:v>
                </c:pt>
                <c:pt idx="2">
                  <c:v>3.0000000000000001E-3</c:v>
                </c:pt>
                <c:pt idx="3">
                  <c:v>6.3173076923076924E-3</c:v>
                </c:pt>
                <c:pt idx="4">
                  <c:v>9.3669436211464788E-3</c:v>
                </c:pt>
                <c:pt idx="5">
                  <c:v>1.2999999999999999E-2</c:v>
                </c:pt>
                <c:pt idx="6">
                  <c:v>2.5999999999999999E-2</c:v>
                </c:pt>
              </c:numCache>
            </c:numRef>
          </c:val>
          <c:extLst>
            <c:ext xmlns:c16="http://schemas.microsoft.com/office/drawing/2014/chart" uri="{C3380CC4-5D6E-409C-BE32-E72D297353CC}">
              <c16:uniqueId val="{00000002-C6DD-45E4-A99D-AF7743239478}"/>
            </c:ext>
          </c:extLst>
        </c:ser>
        <c:dLbls>
          <c:showLegendKey val="0"/>
          <c:showVal val="0"/>
          <c:showCatName val="0"/>
          <c:showSerName val="0"/>
          <c:showPercent val="0"/>
          <c:showBubbleSize val="0"/>
        </c:dLbls>
        <c:gapWidth val="50"/>
        <c:axId val="658119583"/>
        <c:axId val="658110463"/>
      </c:barChart>
      <c:catAx>
        <c:axId val="1572090832"/>
        <c:scaling>
          <c:orientation val="minMax"/>
        </c:scaling>
        <c:delete val="0"/>
        <c:axPos val="r"/>
        <c:numFmt formatCode="General" sourceLinked="1"/>
        <c:majorTickMark val="none"/>
        <c:minorTickMark val="none"/>
        <c:tickLblPos val="high"/>
        <c:spPr>
          <a:noFill/>
          <a:ln w="6350" cap="flat" cmpd="sng" algn="ctr">
            <a:solidFill>
              <a:srgbClr val="2E2E38"/>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j-lt"/>
                <a:ea typeface="+mn-ea"/>
                <a:cs typeface="+mn-cs"/>
              </a:defRPr>
            </a:pPr>
            <a:endParaRPr lang="en-US"/>
          </a:p>
        </c:txPr>
        <c:crossAx val="1572099952"/>
        <c:crosses val="autoZero"/>
        <c:auto val="1"/>
        <c:lblAlgn val="ctr"/>
        <c:lblOffset val="100"/>
        <c:noMultiLvlLbl val="0"/>
      </c:catAx>
      <c:valAx>
        <c:axId val="1572099952"/>
        <c:scaling>
          <c:orientation val="maxMin"/>
          <c:max val="3.0000000000000006E-2"/>
          <c:min val="-3.0000000000000006E-2"/>
        </c:scaling>
        <c:delete val="1"/>
        <c:axPos val="b"/>
        <c:numFmt formatCode="0.00%" sourceLinked="1"/>
        <c:majorTickMark val="none"/>
        <c:minorTickMark val="none"/>
        <c:tickLblPos val="low"/>
        <c:crossAx val="1572090832"/>
        <c:crosses val="autoZero"/>
        <c:crossBetween val="between"/>
      </c:valAx>
      <c:valAx>
        <c:axId val="658110463"/>
        <c:scaling>
          <c:orientation val="minMax"/>
          <c:min val="-3.0000000000000006E-2"/>
        </c:scaling>
        <c:delete val="1"/>
        <c:axPos val="t"/>
        <c:numFmt formatCode="0.00%" sourceLinked="1"/>
        <c:majorTickMark val="out"/>
        <c:minorTickMark val="none"/>
        <c:tickLblPos val="nextTo"/>
        <c:crossAx val="658119583"/>
        <c:crosses val="max"/>
        <c:crossBetween val="between"/>
      </c:valAx>
      <c:catAx>
        <c:axId val="658119583"/>
        <c:scaling>
          <c:orientation val="minMax"/>
        </c:scaling>
        <c:delete val="1"/>
        <c:axPos val="l"/>
        <c:numFmt formatCode="General" sourceLinked="1"/>
        <c:majorTickMark val="out"/>
        <c:minorTickMark val="none"/>
        <c:tickLblPos val="nextTo"/>
        <c:crossAx val="658110463"/>
        <c:crosses val="autoZero"/>
        <c:auto val="1"/>
        <c:lblAlgn val="ctr"/>
        <c:lblOffset val="100"/>
        <c:noMultiLvlLbl val="0"/>
      </c:catAx>
      <c:spPr>
        <a:noFill/>
        <a:ln>
          <a:noFill/>
        </a:ln>
        <a:effectLst/>
      </c:spPr>
    </c:plotArea>
    <c:legend>
      <c:legendPos val="r"/>
      <c:layout>
        <c:manualLayout>
          <c:xMode val="edge"/>
          <c:yMode val="edge"/>
          <c:x val="0.80775866128800522"/>
          <c:y val="0.73159591780225497"/>
          <c:w val="0.18631720835702947"/>
          <c:h val="0.2117044569383889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000">
          <a:latin typeface="+mj-lt"/>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bar"/>
        <c:grouping val="stacked"/>
        <c:varyColors val="0"/>
        <c:ser>
          <c:idx val="0"/>
          <c:order val="0"/>
          <c:tx>
            <c:strRef>
              <c:f>Sheet2!$B$2</c:f>
              <c:strCache>
                <c:ptCount val="1"/>
                <c:pt idx="0">
                  <c:v>16 - 17</c:v>
                </c:pt>
              </c:strCache>
            </c:strRef>
          </c:tx>
          <c:spPr>
            <a:solidFill>
              <a:schemeClr val="accent4">
                <a:shade val="47000"/>
              </a:schemeClr>
            </a:solidFill>
            <a:ln>
              <a:noFill/>
            </a:ln>
            <a:effectLst/>
          </c:spPr>
          <c:invertIfNegative val="0"/>
          <c:cat>
            <c:strRef>
              <c:f>Sheet2!$A$3:$A$4</c:f>
              <c:strCache>
                <c:ptCount val="2"/>
                <c:pt idx="0">
                  <c:v>Female</c:v>
                </c:pt>
                <c:pt idx="1">
                  <c:v>Male</c:v>
                </c:pt>
              </c:strCache>
            </c:strRef>
          </c:cat>
          <c:val>
            <c:numRef>
              <c:f>Sheet2!$B$3:$B$4</c:f>
              <c:numCache>
                <c:formatCode>General</c:formatCode>
                <c:ptCount val="2"/>
                <c:pt idx="0">
                  <c:v>1</c:v>
                </c:pt>
                <c:pt idx="1">
                  <c:v>1</c:v>
                </c:pt>
              </c:numCache>
            </c:numRef>
          </c:val>
          <c:extLst>
            <c:ext xmlns:c16="http://schemas.microsoft.com/office/drawing/2014/chart" uri="{C3380CC4-5D6E-409C-BE32-E72D297353CC}">
              <c16:uniqueId val="{00000000-7E31-4372-A019-BA7DD75D6481}"/>
            </c:ext>
          </c:extLst>
        </c:ser>
        <c:ser>
          <c:idx val="1"/>
          <c:order val="1"/>
          <c:tx>
            <c:strRef>
              <c:f>Sheet2!$C$2</c:f>
              <c:strCache>
                <c:ptCount val="1"/>
                <c:pt idx="0">
                  <c:v>18 - 24</c:v>
                </c:pt>
              </c:strCache>
            </c:strRef>
          </c:tx>
          <c:spPr>
            <a:solidFill>
              <a:schemeClr val="accent4">
                <a:shade val="65000"/>
              </a:schemeClr>
            </a:solidFill>
            <a:ln>
              <a:noFill/>
            </a:ln>
            <a:effectLst/>
          </c:spPr>
          <c:invertIfNegative val="0"/>
          <c:cat>
            <c:strRef>
              <c:f>Sheet2!$A$3:$A$4</c:f>
              <c:strCache>
                <c:ptCount val="2"/>
                <c:pt idx="0">
                  <c:v>Female</c:v>
                </c:pt>
                <c:pt idx="1">
                  <c:v>Male</c:v>
                </c:pt>
              </c:strCache>
            </c:strRef>
          </c:cat>
          <c:val>
            <c:numRef>
              <c:f>Sheet2!$C$3:$C$4</c:f>
              <c:numCache>
                <c:formatCode>General</c:formatCode>
                <c:ptCount val="2"/>
                <c:pt idx="0">
                  <c:v>28</c:v>
                </c:pt>
                <c:pt idx="1">
                  <c:v>23</c:v>
                </c:pt>
              </c:numCache>
            </c:numRef>
          </c:val>
          <c:extLst>
            <c:ext xmlns:c16="http://schemas.microsoft.com/office/drawing/2014/chart" uri="{C3380CC4-5D6E-409C-BE32-E72D297353CC}">
              <c16:uniqueId val="{00000001-7E31-4372-A019-BA7DD75D6481}"/>
            </c:ext>
          </c:extLst>
        </c:ser>
        <c:ser>
          <c:idx val="2"/>
          <c:order val="2"/>
          <c:tx>
            <c:strRef>
              <c:f>Sheet2!$D$2</c:f>
              <c:strCache>
                <c:ptCount val="1"/>
                <c:pt idx="0">
                  <c:v>25 - 34</c:v>
                </c:pt>
              </c:strCache>
            </c:strRef>
          </c:tx>
          <c:spPr>
            <a:solidFill>
              <a:schemeClr val="accent4">
                <a:shade val="82000"/>
              </a:schemeClr>
            </a:solidFill>
            <a:ln>
              <a:noFill/>
            </a:ln>
            <a:effectLst/>
          </c:spPr>
          <c:invertIfNegative val="0"/>
          <c:cat>
            <c:strRef>
              <c:f>Sheet2!$A$3:$A$4</c:f>
              <c:strCache>
                <c:ptCount val="2"/>
                <c:pt idx="0">
                  <c:v>Female</c:v>
                </c:pt>
                <c:pt idx="1">
                  <c:v>Male</c:v>
                </c:pt>
              </c:strCache>
            </c:strRef>
          </c:cat>
          <c:val>
            <c:numRef>
              <c:f>Sheet2!$D$3:$D$4</c:f>
              <c:numCache>
                <c:formatCode>General</c:formatCode>
                <c:ptCount val="2"/>
                <c:pt idx="0">
                  <c:v>29</c:v>
                </c:pt>
                <c:pt idx="1">
                  <c:v>27</c:v>
                </c:pt>
              </c:numCache>
            </c:numRef>
          </c:val>
          <c:extLst>
            <c:ext xmlns:c16="http://schemas.microsoft.com/office/drawing/2014/chart" uri="{C3380CC4-5D6E-409C-BE32-E72D297353CC}">
              <c16:uniqueId val="{00000002-7E31-4372-A019-BA7DD75D6481}"/>
            </c:ext>
          </c:extLst>
        </c:ser>
        <c:ser>
          <c:idx val="3"/>
          <c:order val="3"/>
          <c:tx>
            <c:strRef>
              <c:f>Sheet2!$E$2</c:f>
              <c:strCache>
                <c:ptCount val="1"/>
                <c:pt idx="0">
                  <c:v>35 - 44</c:v>
                </c:pt>
              </c:strCache>
            </c:strRef>
          </c:tx>
          <c:spPr>
            <a:solidFill>
              <a:schemeClr val="accent4"/>
            </a:solidFill>
            <a:ln>
              <a:noFill/>
            </a:ln>
            <a:effectLst/>
          </c:spPr>
          <c:invertIfNegative val="0"/>
          <c:cat>
            <c:strRef>
              <c:f>Sheet2!$A$3:$A$4</c:f>
              <c:strCache>
                <c:ptCount val="2"/>
                <c:pt idx="0">
                  <c:v>Female</c:v>
                </c:pt>
                <c:pt idx="1">
                  <c:v>Male</c:v>
                </c:pt>
              </c:strCache>
            </c:strRef>
          </c:cat>
          <c:val>
            <c:numRef>
              <c:f>Sheet2!$E$3:$E$4</c:f>
              <c:numCache>
                <c:formatCode>General</c:formatCode>
                <c:ptCount val="2"/>
                <c:pt idx="0">
                  <c:v>17</c:v>
                </c:pt>
                <c:pt idx="1">
                  <c:v>20</c:v>
                </c:pt>
              </c:numCache>
            </c:numRef>
          </c:val>
          <c:extLst>
            <c:ext xmlns:c16="http://schemas.microsoft.com/office/drawing/2014/chart" uri="{C3380CC4-5D6E-409C-BE32-E72D297353CC}">
              <c16:uniqueId val="{00000003-7E31-4372-A019-BA7DD75D6481}"/>
            </c:ext>
          </c:extLst>
        </c:ser>
        <c:ser>
          <c:idx val="4"/>
          <c:order val="4"/>
          <c:tx>
            <c:strRef>
              <c:f>Sheet2!$F$2</c:f>
              <c:strCache>
                <c:ptCount val="1"/>
                <c:pt idx="0">
                  <c:v>45 - 54</c:v>
                </c:pt>
              </c:strCache>
            </c:strRef>
          </c:tx>
          <c:spPr>
            <a:solidFill>
              <a:schemeClr val="accent4">
                <a:tint val="83000"/>
              </a:schemeClr>
            </a:solidFill>
            <a:ln>
              <a:noFill/>
            </a:ln>
            <a:effectLst/>
          </c:spPr>
          <c:invertIfNegative val="0"/>
          <c:cat>
            <c:strRef>
              <c:f>Sheet2!$A$3:$A$4</c:f>
              <c:strCache>
                <c:ptCount val="2"/>
                <c:pt idx="0">
                  <c:v>Female</c:v>
                </c:pt>
                <c:pt idx="1">
                  <c:v>Male</c:v>
                </c:pt>
              </c:strCache>
            </c:strRef>
          </c:cat>
          <c:val>
            <c:numRef>
              <c:f>Sheet2!$F$3:$F$4</c:f>
              <c:numCache>
                <c:formatCode>General</c:formatCode>
                <c:ptCount val="2"/>
                <c:pt idx="0">
                  <c:v>18</c:v>
                </c:pt>
                <c:pt idx="1">
                  <c:v>19</c:v>
                </c:pt>
              </c:numCache>
            </c:numRef>
          </c:val>
          <c:extLst>
            <c:ext xmlns:c16="http://schemas.microsoft.com/office/drawing/2014/chart" uri="{C3380CC4-5D6E-409C-BE32-E72D297353CC}">
              <c16:uniqueId val="{00000004-7E31-4372-A019-BA7DD75D6481}"/>
            </c:ext>
          </c:extLst>
        </c:ser>
        <c:ser>
          <c:idx val="5"/>
          <c:order val="5"/>
          <c:tx>
            <c:strRef>
              <c:f>Sheet2!$G$2</c:f>
              <c:strCache>
                <c:ptCount val="1"/>
                <c:pt idx="0">
                  <c:v>55 - 64</c:v>
                </c:pt>
              </c:strCache>
            </c:strRef>
          </c:tx>
          <c:spPr>
            <a:solidFill>
              <a:schemeClr val="accent4">
                <a:tint val="65000"/>
              </a:schemeClr>
            </a:solidFill>
            <a:ln>
              <a:noFill/>
            </a:ln>
            <a:effectLst/>
          </c:spPr>
          <c:invertIfNegative val="0"/>
          <c:cat>
            <c:strRef>
              <c:f>Sheet2!$A$3:$A$4</c:f>
              <c:strCache>
                <c:ptCount val="2"/>
                <c:pt idx="0">
                  <c:v>Female</c:v>
                </c:pt>
                <c:pt idx="1">
                  <c:v>Male</c:v>
                </c:pt>
              </c:strCache>
            </c:strRef>
          </c:cat>
          <c:val>
            <c:numRef>
              <c:f>Sheet2!$G$3:$G$4</c:f>
              <c:numCache>
                <c:formatCode>General</c:formatCode>
                <c:ptCount val="2"/>
                <c:pt idx="0">
                  <c:v>6</c:v>
                </c:pt>
                <c:pt idx="1">
                  <c:v>8</c:v>
                </c:pt>
              </c:numCache>
            </c:numRef>
          </c:val>
          <c:extLst>
            <c:ext xmlns:c16="http://schemas.microsoft.com/office/drawing/2014/chart" uri="{C3380CC4-5D6E-409C-BE32-E72D297353CC}">
              <c16:uniqueId val="{00000005-7E31-4372-A019-BA7DD75D6481}"/>
            </c:ext>
          </c:extLst>
        </c:ser>
        <c:ser>
          <c:idx val="6"/>
          <c:order val="6"/>
          <c:tx>
            <c:strRef>
              <c:f>Sheet2!$H$2</c:f>
              <c:strCache>
                <c:ptCount val="1"/>
                <c:pt idx="0">
                  <c:v>65+</c:v>
                </c:pt>
              </c:strCache>
            </c:strRef>
          </c:tx>
          <c:spPr>
            <a:solidFill>
              <a:schemeClr val="accent4">
                <a:tint val="48000"/>
              </a:schemeClr>
            </a:solidFill>
            <a:ln>
              <a:noFill/>
            </a:ln>
            <a:effectLst/>
          </c:spPr>
          <c:invertIfNegative val="0"/>
          <c:cat>
            <c:strRef>
              <c:f>Sheet2!$A$3:$A$4</c:f>
              <c:strCache>
                <c:ptCount val="2"/>
                <c:pt idx="0">
                  <c:v>Female</c:v>
                </c:pt>
                <c:pt idx="1">
                  <c:v>Male</c:v>
                </c:pt>
              </c:strCache>
            </c:strRef>
          </c:cat>
          <c:val>
            <c:numRef>
              <c:f>Sheet2!$H$3:$H$4</c:f>
              <c:numCache>
                <c:formatCode>General</c:formatCode>
                <c:ptCount val="2"/>
                <c:pt idx="0">
                  <c:v>1</c:v>
                </c:pt>
                <c:pt idx="1">
                  <c:v>2</c:v>
                </c:pt>
              </c:numCache>
            </c:numRef>
          </c:val>
          <c:extLst>
            <c:ext xmlns:c16="http://schemas.microsoft.com/office/drawing/2014/chart" uri="{C3380CC4-5D6E-409C-BE32-E72D297353CC}">
              <c16:uniqueId val="{00000006-7E31-4372-A019-BA7DD75D6481}"/>
            </c:ext>
          </c:extLst>
        </c:ser>
        <c:dLbls>
          <c:showLegendKey val="0"/>
          <c:showVal val="0"/>
          <c:showCatName val="0"/>
          <c:showSerName val="0"/>
          <c:showPercent val="0"/>
          <c:showBubbleSize val="0"/>
        </c:dLbls>
        <c:gapWidth val="58"/>
        <c:overlap val="100"/>
        <c:axId val="1253575088"/>
        <c:axId val="1253592368"/>
      </c:barChart>
      <c:catAx>
        <c:axId val="12535750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3592368"/>
        <c:crosses val="autoZero"/>
        <c:auto val="1"/>
        <c:lblAlgn val="ctr"/>
        <c:lblOffset val="100"/>
        <c:noMultiLvlLbl val="0"/>
      </c:catAx>
      <c:valAx>
        <c:axId val="1253592368"/>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35750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147312405433925"/>
          <c:y val="0.11154894938775836"/>
          <c:w val="0.6447007152748343"/>
          <c:h val="0.77690210122448333"/>
        </c:manualLayout>
      </c:layout>
      <c:barChart>
        <c:barDir val="bar"/>
        <c:grouping val="stacked"/>
        <c:varyColors val="0"/>
        <c:ser>
          <c:idx val="0"/>
          <c:order val="0"/>
          <c:spPr>
            <a:solidFill>
              <a:schemeClr val="accent1">
                <a:lumMod val="40000"/>
                <a:lumOff val="60000"/>
              </a:schemeClr>
            </a:solidFill>
            <a:ln>
              <a:noFill/>
            </a:ln>
            <a:effectLst/>
          </c:spPr>
          <c:invertIfNegative val="0"/>
          <c:dLbls>
            <c:dLbl>
              <c:idx val="0"/>
              <c:layout>
                <c:manualLayout>
                  <c:x val="0.14182058069808942"/>
                  <c:y val="1.123595505617977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C84-4270-8DFA-4F66B14A0C76}"/>
                </c:ext>
              </c:extLst>
            </c:dLbl>
            <c:dLbl>
              <c:idx val="1"/>
              <c:layout>
                <c:manualLayout>
                  <c:x val="0.26107562896265651"/>
                  <c:y val="1.123634084312471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C84-4270-8DFA-4F66B14A0C76}"/>
                </c:ext>
              </c:extLst>
            </c:dLbl>
            <c:dLbl>
              <c:idx val="2"/>
              <c:layout>
                <c:manualLayout>
                  <c:x val="0.25738542962397443"/>
                  <c:y val="1.014081358070530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C84-4270-8DFA-4F66B14A0C76}"/>
                </c:ext>
              </c:extLst>
            </c:dLbl>
            <c:dLbl>
              <c:idx val="3"/>
              <c:layout>
                <c:manualLayout>
                  <c:x val="0.35364462900784016"/>
                  <c:y val="1.123634084312476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C84-4270-8DFA-4F66B14A0C76}"/>
                </c:ext>
              </c:extLst>
            </c:dLbl>
            <c:dLbl>
              <c:idx val="4"/>
              <c:layout>
                <c:manualLayout>
                  <c:x val="0.34098404057961534"/>
                  <c:y val="-2.323909599576297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C84-4270-8DFA-4F66B14A0C7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C$12:$G$12</c:f>
              <c:strCache>
                <c:ptCount val="5"/>
                <c:pt idx="0">
                  <c:v>55 +</c:v>
                </c:pt>
                <c:pt idx="1">
                  <c:v>45 - 54</c:v>
                </c:pt>
                <c:pt idx="2">
                  <c:v>35 - 44</c:v>
                </c:pt>
                <c:pt idx="3">
                  <c:v>25 - 34</c:v>
                </c:pt>
                <c:pt idx="4">
                  <c:v>Under 24</c:v>
                </c:pt>
              </c:strCache>
            </c:strRef>
          </c:cat>
          <c:val>
            <c:numRef>
              <c:f>Sheet2!$C$13:$G$13</c:f>
              <c:numCache>
                <c:formatCode>0%</c:formatCode>
                <c:ptCount val="5"/>
                <c:pt idx="0">
                  <c:v>8.5000000000000006E-2</c:v>
                </c:pt>
                <c:pt idx="1">
                  <c:v>0.185</c:v>
                </c:pt>
                <c:pt idx="2">
                  <c:v>0.185</c:v>
                </c:pt>
                <c:pt idx="3">
                  <c:v>0.28000000000000003</c:v>
                </c:pt>
                <c:pt idx="4">
                  <c:v>0.26500000000000001</c:v>
                </c:pt>
              </c:numCache>
            </c:numRef>
          </c:val>
          <c:extLst>
            <c:ext xmlns:c16="http://schemas.microsoft.com/office/drawing/2014/chart" uri="{C3380CC4-5D6E-409C-BE32-E72D297353CC}">
              <c16:uniqueId val="{00000005-DC84-4270-8DFA-4F66B14A0C76}"/>
            </c:ext>
          </c:extLst>
        </c:ser>
        <c:dLbls>
          <c:showLegendKey val="0"/>
          <c:showVal val="0"/>
          <c:showCatName val="0"/>
          <c:showSerName val="0"/>
          <c:showPercent val="0"/>
          <c:showBubbleSize val="0"/>
        </c:dLbls>
        <c:gapWidth val="37"/>
        <c:overlap val="100"/>
        <c:axId val="1488989824"/>
        <c:axId val="1488995584"/>
      </c:barChart>
      <c:catAx>
        <c:axId val="14889898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88995584"/>
        <c:crosses val="autoZero"/>
        <c:auto val="1"/>
        <c:lblAlgn val="ctr"/>
        <c:lblOffset val="100"/>
        <c:noMultiLvlLbl val="0"/>
      </c:catAx>
      <c:valAx>
        <c:axId val="1488995584"/>
        <c:scaling>
          <c:orientation val="minMax"/>
        </c:scaling>
        <c:delete val="1"/>
        <c:axPos val="b"/>
        <c:numFmt formatCode="0%" sourceLinked="1"/>
        <c:majorTickMark val="none"/>
        <c:minorTickMark val="none"/>
        <c:tickLblPos val="nextTo"/>
        <c:crossAx val="14889898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8283728058953727E-2"/>
          <c:y val="1.6655943856718456E-2"/>
          <c:w val="0.88913052979680407"/>
          <c:h val="0.98334405614328158"/>
        </c:manualLayout>
      </c:layout>
      <c:doughnutChart>
        <c:varyColors val="1"/>
        <c:ser>
          <c:idx val="0"/>
          <c:order val="0"/>
          <c:spPr>
            <a:ln>
              <a:solidFill>
                <a:srgbClr val="FFFFFF"/>
              </a:solidFill>
            </a:ln>
          </c:spPr>
          <c:dPt>
            <c:idx val="0"/>
            <c:bubble3D val="0"/>
            <c:spPr>
              <a:solidFill>
                <a:srgbClr val="3C69FF"/>
              </a:solidFill>
              <a:ln>
                <a:solidFill>
                  <a:srgbClr val="FFFFFF"/>
                </a:solidFill>
              </a:ln>
              <a:effectLst/>
            </c:spPr>
            <c:extLst>
              <c:ext xmlns:c16="http://schemas.microsoft.com/office/drawing/2014/chart" uri="{C3380CC4-5D6E-409C-BE32-E72D297353CC}">
                <c16:uniqueId val="{00000001-E5FF-4723-9665-026134F826D3}"/>
              </c:ext>
            </c:extLst>
          </c:dPt>
          <c:dPt>
            <c:idx val="1"/>
            <c:bubble3D val="0"/>
            <c:spPr>
              <a:solidFill>
                <a:srgbClr val="313131">
                  <a:lumMod val="25000"/>
                  <a:lumOff val="75000"/>
                </a:srgbClr>
              </a:solidFill>
              <a:ln>
                <a:solidFill>
                  <a:srgbClr val="FFFFFF"/>
                </a:solidFill>
              </a:ln>
              <a:effectLst/>
            </c:spPr>
            <c:extLst>
              <c:ext xmlns:c16="http://schemas.microsoft.com/office/drawing/2014/chart" uri="{C3380CC4-5D6E-409C-BE32-E72D297353CC}">
                <c16:uniqueId val="{00000003-E5FF-4723-9665-026134F826D3}"/>
              </c:ext>
            </c:extLst>
          </c:dPt>
          <c:dPt>
            <c:idx val="2"/>
            <c:bubble3D val="0"/>
            <c:spPr>
              <a:solidFill>
                <a:srgbClr val="000000"/>
              </a:solidFill>
              <a:ln>
                <a:solidFill>
                  <a:srgbClr val="FFFFFF"/>
                </a:solidFill>
              </a:ln>
              <a:effectLst/>
            </c:spPr>
            <c:extLst>
              <c:ext xmlns:c16="http://schemas.microsoft.com/office/drawing/2014/chart" uri="{C3380CC4-5D6E-409C-BE32-E72D297353CC}">
                <c16:uniqueId val="{00000005-E5FF-4723-9665-026134F826D3}"/>
              </c:ext>
            </c:extLst>
          </c:dPt>
          <c:dLbls>
            <c:dLbl>
              <c:idx val="0"/>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j-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1794517058650192"/>
                      <c:h val="0.19966864110645355"/>
                    </c:manualLayout>
                  </c15:layout>
                </c:ext>
                <c:ext xmlns:c16="http://schemas.microsoft.com/office/drawing/2014/chart" uri="{C3380CC4-5D6E-409C-BE32-E72D297353CC}">
                  <c16:uniqueId val="{00000001-E5FF-4723-9665-026134F826D3}"/>
                </c:ext>
              </c:extLst>
            </c:dLbl>
            <c:dLbl>
              <c:idx val="1"/>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0525918859660075"/>
                      <c:h val="0.19966864110645355"/>
                    </c:manualLayout>
                  </c15:layout>
                </c:ext>
                <c:ext xmlns:c16="http://schemas.microsoft.com/office/drawing/2014/chart" uri="{C3380CC4-5D6E-409C-BE32-E72D297353CC}">
                  <c16:uniqueId val="{00000003-E5FF-4723-9665-026134F826D3}"/>
                </c:ext>
              </c:extLst>
            </c:dLbl>
            <c:dLbl>
              <c:idx val="2"/>
              <c:layout>
                <c:manualLayout>
                  <c:x val="-0.11949146193456231"/>
                  <c:y val="-8.2158080808080805E-2"/>
                </c:manualLayout>
              </c:layout>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5FF-4723-9665-026134F826D3}"/>
                </c:ext>
              </c:extLst>
            </c:dLbl>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j-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val>
            <c:numRef>
              <c:f>'Direct Cost (DC)'!$C$489:$C$491</c:f>
              <c:numCache>
                <c:formatCode>0.0%</c:formatCode>
                <c:ptCount val="3"/>
                <c:pt idx="0">
                  <c:v>0.55000000000000004</c:v>
                </c:pt>
                <c:pt idx="1">
                  <c:v>0.43999999999999995</c:v>
                </c:pt>
                <c:pt idx="2">
                  <c:v>0.01</c:v>
                </c:pt>
              </c:numCache>
            </c:numRef>
          </c:val>
          <c:extLst>
            <c:ext xmlns:c16="http://schemas.microsoft.com/office/drawing/2014/chart" uri="{C3380CC4-5D6E-409C-BE32-E72D297353CC}">
              <c16:uniqueId val="{00000006-E5FF-4723-9665-026134F826D3}"/>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latin typeface="EYInterstate Light" panose="02000506000000020004" pitchFamily="2" charset="0"/>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8283804884994971E-2"/>
          <c:y val="0.11041057573784559"/>
          <c:w val="0.88913052979680407"/>
          <c:h val="0.98334405614328158"/>
        </c:manualLayout>
      </c:layout>
      <c:doughnutChart>
        <c:varyColors val="1"/>
        <c:ser>
          <c:idx val="0"/>
          <c:order val="0"/>
          <c:spPr>
            <a:ln>
              <a:solidFill>
                <a:srgbClr val="FFFFFF"/>
              </a:solidFill>
            </a:ln>
          </c:spPr>
          <c:dPt>
            <c:idx val="0"/>
            <c:bubble3D val="0"/>
            <c:spPr>
              <a:solidFill>
                <a:srgbClr val="3C69FF"/>
              </a:solidFill>
              <a:ln>
                <a:solidFill>
                  <a:srgbClr val="FFFFFF"/>
                </a:solidFill>
              </a:ln>
              <a:effectLst/>
            </c:spPr>
            <c:extLst>
              <c:ext xmlns:c16="http://schemas.microsoft.com/office/drawing/2014/chart" uri="{C3380CC4-5D6E-409C-BE32-E72D297353CC}">
                <c16:uniqueId val="{00000001-D446-43B1-91EA-2A77069DA8BE}"/>
              </c:ext>
            </c:extLst>
          </c:dPt>
          <c:dPt>
            <c:idx val="1"/>
            <c:bubble3D val="0"/>
            <c:spPr>
              <a:solidFill>
                <a:srgbClr val="313131">
                  <a:lumMod val="25000"/>
                  <a:lumOff val="75000"/>
                </a:srgbClr>
              </a:solidFill>
              <a:ln>
                <a:solidFill>
                  <a:srgbClr val="FFFFFF"/>
                </a:solidFill>
              </a:ln>
              <a:effectLst/>
            </c:spPr>
            <c:extLst>
              <c:ext xmlns:c16="http://schemas.microsoft.com/office/drawing/2014/chart" uri="{C3380CC4-5D6E-409C-BE32-E72D297353CC}">
                <c16:uniqueId val="{00000003-D446-43B1-91EA-2A77069DA8BE}"/>
              </c:ext>
            </c:extLst>
          </c:dPt>
          <c:dPt>
            <c:idx val="2"/>
            <c:bubble3D val="0"/>
            <c:spPr>
              <a:solidFill>
                <a:srgbClr val="000000"/>
              </a:solidFill>
              <a:ln>
                <a:solidFill>
                  <a:srgbClr val="FFFFFF"/>
                </a:solidFill>
              </a:ln>
              <a:effectLst/>
            </c:spPr>
            <c:extLst>
              <c:ext xmlns:c16="http://schemas.microsoft.com/office/drawing/2014/chart" uri="{C3380CC4-5D6E-409C-BE32-E72D297353CC}">
                <c16:uniqueId val="{00000005-D446-43B1-91EA-2A77069DA8BE}"/>
              </c:ext>
            </c:extLst>
          </c:dPt>
          <c:dLbls>
            <c:dLbl>
              <c:idx val="0"/>
              <c:numFmt formatCode="0%" sourceLinked="0"/>
              <c:spPr>
                <a:noFill/>
                <a:ln>
                  <a:noFill/>
                </a:ln>
                <a:effectLst/>
              </c:spPr>
              <c:txPr>
                <a:bodyPr rot="0" vert="horz"/>
                <a:lstStyle/>
                <a:p>
                  <a:pPr>
                    <a:defRPr sz="1400" b="1">
                      <a:solidFill>
                        <a:schemeClr val="bg1"/>
                      </a:solidFill>
                      <a:latin typeface="+mj-lt"/>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446-43B1-91EA-2A77069DA8BE}"/>
                </c:ext>
              </c:extLst>
            </c:dLbl>
            <c:dLbl>
              <c:idx val="1"/>
              <c:numFmt formatCode="0%" sourceLinked="0"/>
              <c:spPr>
                <a:noFill/>
                <a:ln>
                  <a:noFill/>
                </a:ln>
                <a:effectLst/>
              </c:spPr>
              <c:txPr>
                <a:bodyPr rot="0" vert="horz"/>
                <a:lstStyle/>
                <a:p>
                  <a:pPr>
                    <a:defRPr sz="1400" b="1">
                      <a:solidFill>
                        <a:schemeClr val="tx1"/>
                      </a:solidFill>
                      <a:latin typeface="+mj-lt"/>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446-43B1-91EA-2A77069DA8BE}"/>
                </c:ext>
              </c:extLst>
            </c:dLbl>
            <c:dLbl>
              <c:idx val="2"/>
              <c:layout>
                <c:manualLayout>
                  <c:x val="-0.15483227884830142"/>
                  <c:y val="-9.9668686868686865E-2"/>
                </c:manualLayout>
              </c:layout>
              <c:numFmt formatCode="0%" sourceLinked="0"/>
              <c:spPr>
                <a:noFill/>
                <a:ln>
                  <a:noFill/>
                </a:ln>
                <a:effectLst/>
              </c:spPr>
              <c:txPr>
                <a:bodyPr rot="0" vert="horz"/>
                <a:lstStyle/>
                <a:p>
                  <a:pPr>
                    <a:defRPr sz="1400" b="1">
                      <a:solidFill>
                        <a:schemeClr val="tx1"/>
                      </a:solidFill>
                      <a:latin typeface="+mj-lt"/>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446-43B1-91EA-2A77069DA8BE}"/>
                </c:ext>
              </c:extLst>
            </c:dLbl>
            <c:numFmt formatCode="0%" sourceLinked="0"/>
            <c:spPr>
              <a:noFill/>
              <a:ln>
                <a:noFill/>
              </a:ln>
              <a:effectLst/>
            </c:spPr>
            <c:txPr>
              <a:bodyPr rot="0" vert="horz"/>
              <a:lstStyle/>
              <a:p>
                <a:pPr>
                  <a:defRPr sz="1400">
                    <a:latin typeface="+mj-lt"/>
                  </a:defRPr>
                </a:pPr>
                <a:endParaRPr lang="en-US"/>
              </a:p>
            </c:txPr>
            <c:showLegendKey val="0"/>
            <c:showVal val="0"/>
            <c:showCatName val="0"/>
            <c:showSerName val="0"/>
            <c:showPercent val="0"/>
            <c:showBubbleSize val="0"/>
            <c:extLst>
              <c:ext xmlns:c15="http://schemas.microsoft.com/office/drawing/2012/chart" uri="{CE6537A1-D6FC-4f65-9D91-7224C49458BB}"/>
            </c:extLst>
          </c:dLbls>
          <c:val>
            <c:numRef>
              <c:f>'Direct Cost (DC)'!$G$489:$G$491</c:f>
              <c:numCache>
                <c:formatCode>0.0%</c:formatCode>
                <c:ptCount val="3"/>
                <c:pt idx="0">
                  <c:v>0.65</c:v>
                </c:pt>
                <c:pt idx="1">
                  <c:v>0.33999999999999997</c:v>
                </c:pt>
                <c:pt idx="2">
                  <c:v>0.01</c:v>
                </c:pt>
              </c:numCache>
            </c:numRef>
          </c:val>
          <c:extLst>
            <c:ext xmlns:c16="http://schemas.microsoft.com/office/drawing/2014/chart" uri="{C3380CC4-5D6E-409C-BE32-E72D297353CC}">
              <c16:uniqueId val="{00000006-D446-43B1-91EA-2A77069DA8BE}"/>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extLst/>
  </c:chart>
  <c:spPr>
    <a:noFill/>
    <a:ln w="9525" cap="flat" cmpd="sng" algn="ctr">
      <a:noFill/>
      <a:round/>
    </a:ln>
    <a:effectLst/>
  </c:spPr>
  <c:txPr>
    <a:bodyPr/>
    <a:lstStyle/>
    <a:p>
      <a:pPr>
        <a:defRPr sz="900">
          <a:latin typeface="EYInterstate Light" panose="02000506000000020004" pitchFamily="2" charset="0"/>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40317425147626E-3"/>
          <c:y val="6.325054031507954E-2"/>
          <c:w val="0.69599139366418927"/>
          <c:h val="0.78192603391367255"/>
        </c:manualLayout>
      </c:layout>
      <c:barChart>
        <c:barDir val="col"/>
        <c:grouping val="stacked"/>
        <c:varyColors val="0"/>
        <c:ser>
          <c:idx val="2"/>
          <c:order val="0"/>
          <c:tx>
            <c:strRef>
              <c:f>'Direct Cost (DC)'!$I$200</c:f>
              <c:strCache>
                <c:ptCount val="1"/>
                <c:pt idx="0">
                  <c:v>Single vehicle collision (e.g., trips or falls)</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irect Cost (DC)'!$J$197:$K$197</c:f>
              <c:strCache>
                <c:ptCount val="2"/>
                <c:pt idx="0">
                  <c:v>E-bike</c:v>
                </c:pt>
                <c:pt idx="1">
                  <c:v>E-scooter</c:v>
                </c:pt>
              </c:strCache>
            </c:strRef>
          </c:cat>
          <c:val>
            <c:numRef>
              <c:f>'Direct Cost (DC)'!$J$200:$K$200</c:f>
              <c:numCache>
                <c:formatCode>0%</c:formatCode>
                <c:ptCount val="2"/>
                <c:pt idx="0">
                  <c:v>0.69750000000000001</c:v>
                </c:pt>
                <c:pt idx="1">
                  <c:v>0.86399999999999999</c:v>
                </c:pt>
              </c:numCache>
            </c:numRef>
          </c:val>
          <c:extLst>
            <c:ext xmlns:c16="http://schemas.microsoft.com/office/drawing/2014/chart" uri="{C3380CC4-5D6E-409C-BE32-E72D297353CC}">
              <c16:uniqueId val="{00000000-BC41-497C-BFDF-34D33554A797}"/>
            </c:ext>
          </c:extLst>
        </c:ser>
        <c:ser>
          <c:idx val="1"/>
          <c:order val="1"/>
          <c:tx>
            <c:strRef>
              <c:f>'Direct Cost (DC)'!$I$199</c:f>
              <c:strCache>
                <c:ptCount val="1"/>
                <c:pt idx="0">
                  <c:v>Collision with pedestrians</c:v>
                </c:pt>
              </c:strCache>
            </c:strRef>
          </c:tx>
          <c:spPr>
            <a:solidFill>
              <a:schemeClr val="accent2"/>
            </a:solidFill>
            <a:ln>
              <a:noFill/>
            </a:ln>
            <a:effectLst/>
          </c:spPr>
          <c:invertIfNegative val="0"/>
          <c:dLbls>
            <c:dLbl>
              <c:idx val="0"/>
              <c:layout>
                <c:manualLayout>
                  <c:x val="-2.4752156763371266E-4"/>
                  <c:y val="6.72245092596035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C41-497C-BFDF-34D33554A797}"/>
                </c:ext>
              </c:extLst>
            </c:dLbl>
            <c:dLbl>
              <c:idx val="1"/>
              <c:layout>
                <c:manualLayout>
                  <c:x val="-8.0613522005103522E-3"/>
                  <c:y val="7.23008928439379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C41-497C-BFDF-34D33554A797}"/>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irect Cost (DC)'!$J$197:$K$197</c:f>
              <c:strCache>
                <c:ptCount val="2"/>
                <c:pt idx="0">
                  <c:v>E-bike</c:v>
                </c:pt>
                <c:pt idx="1">
                  <c:v>E-scooter</c:v>
                </c:pt>
              </c:strCache>
            </c:strRef>
          </c:cat>
          <c:val>
            <c:numRef>
              <c:f>'Direct Cost (DC)'!$J$199:$K$199</c:f>
              <c:numCache>
                <c:formatCode>0%</c:formatCode>
                <c:ptCount val="2"/>
                <c:pt idx="0">
                  <c:v>5.2500000000000005E-2</c:v>
                </c:pt>
                <c:pt idx="1">
                  <c:v>3.6000000000000004E-2</c:v>
                </c:pt>
              </c:numCache>
            </c:numRef>
          </c:val>
          <c:extLst>
            <c:ext xmlns:c16="http://schemas.microsoft.com/office/drawing/2014/chart" uri="{C3380CC4-5D6E-409C-BE32-E72D297353CC}">
              <c16:uniqueId val="{00000002-BC41-497C-BFDF-34D33554A797}"/>
            </c:ext>
          </c:extLst>
        </c:ser>
        <c:ser>
          <c:idx val="0"/>
          <c:order val="2"/>
          <c:tx>
            <c:strRef>
              <c:f>'Direct Cost (DC)'!$I$198</c:f>
              <c:strCache>
                <c:ptCount val="1"/>
                <c:pt idx="0">
                  <c:v>Collision with registered Vehicles </c:v>
                </c:pt>
              </c:strCache>
            </c:strRef>
          </c:tx>
          <c:spPr>
            <a:solidFill>
              <a:schemeClr val="accent1"/>
            </a:solidFill>
            <a:ln>
              <a:noFill/>
            </a:ln>
            <a:effectLst/>
          </c:spPr>
          <c:invertIfNegative val="0"/>
          <c:dLbls>
            <c:dLbl>
              <c:idx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CC2F-43FD-A43A-073014E33B04}"/>
                </c:ext>
              </c:extLst>
            </c:dLbl>
            <c:dLbl>
              <c:idx val="1"/>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CC2F-43FD-A43A-073014E33B04}"/>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irect Cost (DC)'!$J$197:$K$197</c:f>
              <c:strCache>
                <c:ptCount val="2"/>
                <c:pt idx="0">
                  <c:v>E-bike</c:v>
                </c:pt>
                <c:pt idx="1">
                  <c:v>E-scooter</c:v>
                </c:pt>
              </c:strCache>
            </c:strRef>
          </c:cat>
          <c:val>
            <c:numRef>
              <c:f>'Direct Cost (DC)'!$J$198:$K$198</c:f>
              <c:numCache>
                <c:formatCode>0%</c:formatCode>
                <c:ptCount val="2"/>
                <c:pt idx="0">
                  <c:v>0.25</c:v>
                </c:pt>
                <c:pt idx="1">
                  <c:v>9.9999999999999978E-2</c:v>
                </c:pt>
              </c:numCache>
            </c:numRef>
          </c:val>
          <c:extLst>
            <c:ext xmlns:c16="http://schemas.microsoft.com/office/drawing/2014/chart" uri="{C3380CC4-5D6E-409C-BE32-E72D297353CC}">
              <c16:uniqueId val="{00000001-BC41-497C-BFDF-34D33554A797}"/>
            </c:ext>
          </c:extLst>
        </c:ser>
        <c:dLbls>
          <c:dLblPos val="ctr"/>
          <c:showLegendKey val="0"/>
          <c:showVal val="1"/>
          <c:showCatName val="0"/>
          <c:showSerName val="0"/>
          <c:showPercent val="0"/>
          <c:showBubbleSize val="0"/>
        </c:dLbls>
        <c:gapWidth val="51"/>
        <c:overlap val="100"/>
        <c:axId val="713485008"/>
        <c:axId val="713491248"/>
      </c:barChart>
      <c:catAx>
        <c:axId val="713485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713491248"/>
        <c:crosses val="autoZero"/>
        <c:auto val="1"/>
        <c:lblAlgn val="ctr"/>
        <c:lblOffset val="100"/>
        <c:noMultiLvlLbl val="0"/>
      </c:catAx>
      <c:valAx>
        <c:axId val="713491248"/>
        <c:scaling>
          <c:orientation val="minMax"/>
        </c:scaling>
        <c:delete val="1"/>
        <c:axPos val="l"/>
        <c:numFmt formatCode="0%" sourceLinked="1"/>
        <c:majorTickMark val="none"/>
        <c:minorTickMark val="none"/>
        <c:tickLblPos val="nextTo"/>
        <c:crossAx val="713485008"/>
        <c:crosses val="autoZero"/>
        <c:crossBetween val="between"/>
      </c:valAx>
      <c:spPr>
        <a:noFill/>
        <a:ln>
          <a:noFill/>
        </a:ln>
        <a:effectLst/>
      </c:spPr>
    </c:plotArea>
    <c:legend>
      <c:legendPos val="r"/>
      <c:layout>
        <c:manualLayout>
          <c:xMode val="edge"/>
          <c:yMode val="edge"/>
          <c:x val="0.67284065719824393"/>
          <c:y val="0.31488395678357517"/>
          <c:w val="0.31716737626484065"/>
          <c:h val="0.4374418624002630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a:noFill/>
    </a:ln>
    <a:effectLst/>
  </c:spPr>
  <c:txPr>
    <a:bodyPr/>
    <a:lstStyle/>
    <a:p>
      <a:pPr>
        <a:defRPr sz="105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7">
  <a:schemeClr val="accent4"/>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7A4CF7-9883-7542-8774-50E62ADBD844}" type="datetimeFigureOut">
              <a:rPr lang="en-US" smtClean="0"/>
              <a:t>11/1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EA80CD-AE39-0C4B-A880-515F813E088A}" type="slidenum">
              <a:rPr lang="en-US" smtClean="0"/>
              <a:t>‹#›</a:t>
            </a:fld>
            <a:endParaRPr lang="en-US"/>
          </a:p>
        </p:txBody>
      </p:sp>
    </p:spTree>
    <p:extLst>
      <p:ext uri="{BB962C8B-B14F-4D97-AF65-F5344CB8AC3E}">
        <p14:creationId xmlns:p14="http://schemas.microsoft.com/office/powerpoint/2010/main" val="11541135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1BEA80CD-AE39-0C4B-A880-515F813E088A}" type="slidenum">
              <a:rPr lang="en-US" smtClean="0"/>
              <a:t>1</a:t>
            </a:fld>
            <a:endParaRPr lang="en-US"/>
          </a:p>
        </p:txBody>
      </p:sp>
    </p:spTree>
    <p:extLst>
      <p:ext uri="{BB962C8B-B14F-4D97-AF65-F5344CB8AC3E}">
        <p14:creationId xmlns:p14="http://schemas.microsoft.com/office/powerpoint/2010/main" val="4201005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F7C722-58C6-0CA4-5D80-0A4690A21A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A526AA-9BC9-E638-F6BE-594AA9B44B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67EF45-63EF-AD00-04BE-FC9BE76F0614}"/>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DED17289-3588-7489-91D3-49DB7151E9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1EC8BC-C004-4403-9846-C8FABBF7BFD6}"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68465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B0F7C9-B478-06A6-BC98-4769C547BB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4CAE32-F715-284A-1A5A-14960F0C07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E869C0-0E9C-67C6-6B5E-57B0C28889E0}"/>
              </a:ext>
            </a:extLst>
          </p:cNvPr>
          <p:cNvSpPr>
            <a:spLocks noGrp="1"/>
          </p:cNvSpPr>
          <p:nvPr>
            <p:ph type="body" idx="1"/>
          </p:nvPr>
        </p:nvSpPr>
        <p:spPr/>
        <p:txBody>
          <a:bodyPr/>
          <a:lstStyle/>
          <a:p>
            <a:endParaRPr lang="en-AU" b="1" dirty="0"/>
          </a:p>
          <a:p>
            <a:endParaRPr lang="en-AU" dirty="0"/>
          </a:p>
        </p:txBody>
      </p:sp>
      <p:sp>
        <p:nvSpPr>
          <p:cNvPr id="4" name="Slide Number Placeholder 3">
            <a:extLst>
              <a:ext uri="{FF2B5EF4-FFF2-40B4-BE49-F238E27FC236}">
                <a16:creationId xmlns:a16="http://schemas.microsoft.com/office/drawing/2014/main" id="{DAFD1A58-F238-BB87-ADC8-0F01F2A4DA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1EC8BC-C004-4403-9846-C8FABBF7BFD6}"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56656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2F3E1C-CE72-41F3-9B07-5812ECF5F6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A3E4E6-04F2-66D7-F144-67CFF31A42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58955F-AA65-113E-A9BD-19CA45B07BF1}"/>
              </a:ext>
            </a:extLst>
          </p:cNvPr>
          <p:cNvSpPr>
            <a:spLocks noGrp="1"/>
          </p:cNvSpPr>
          <p:nvPr>
            <p:ph type="body" idx="1"/>
          </p:nvPr>
        </p:nvSpPr>
        <p:spPr/>
        <p:txBody>
          <a:bodyPr/>
          <a:lstStyle/>
          <a:p>
            <a:pPr marL="171450" indent="-171450">
              <a:buFontTx/>
              <a:buChar char="-"/>
            </a:pPr>
            <a:endParaRPr lang="en-AU" dirty="0"/>
          </a:p>
        </p:txBody>
      </p:sp>
      <p:sp>
        <p:nvSpPr>
          <p:cNvPr id="4" name="Slide Number Placeholder 3">
            <a:extLst>
              <a:ext uri="{FF2B5EF4-FFF2-40B4-BE49-F238E27FC236}">
                <a16:creationId xmlns:a16="http://schemas.microsoft.com/office/drawing/2014/main" id="{604E00C4-F35C-6282-6C3D-4D0B8389B4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1EC8BC-C004-4403-9846-C8FABBF7BFD6}"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69424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1BEA80CD-AE39-0C4B-A880-515F813E088A}" type="slidenum">
              <a:rPr lang="en-US" smtClean="0"/>
              <a:t>2</a:t>
            </a:fld>
            <a:endParaRPr lang="en-US"/>
          </a:p>
        </p:txBody>
      </p:sp>
    </p:spTree>
    <p:extLst>
      <p:ext uri="{BB962C8B-B14F-4D97-AF65-F5344CB8AC3E}">
        <p14:creationId xmlns:p14="http://schemas.microsoft.com/office/powerpoint/2010/main" val="1551743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1BEA80CD-AE39-0C4B-A880-515F813E088A}" type="slidenum">
              <a:rPr lang="en-US" smtClean="0"/>
              <a:t>3</a:t>
            </a:fld>
            <a:endParaRPr lang="en-US"/>
          </a:p>
        </p:txBody>
      </p:sp>
    </p:spTree>
    <p:extLst>
      <p:ext uri="{BB962C8B-B14F-4D97-AF65-F5344CB8AC3E}">
        <p14:creationId xmlns:p14="http://schemas.microsoft.com/office/powerpoint/2010/main" val="14810711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1BEA80CD-AE39-0C4B-A880-515F813E088A}" type="slidenum">
              <a:rPr lang="en-US" smtClean="0"/>
              <a:t>4</a:t>
            </a:fld>
            <a:endParaRPr lang="en-US"/>
          </a:p>
        </p:txBody>
      </p:sp>
    </p:spTree>
    <p:extLst>
      <p:ext uri="{BB962C8B-B14F-4D97-AF65-F5344CB8AC3E}">
        <p14:creationId xmlns:p14="http://schemas.microsoft.com/office/powerpoint/2010/main" val="12362895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1BEA80CD-AE39-0C4B-A880-515F813E088A}" type="slidenum">
              <a:rPr lang="en-US" smtClean="0"/>
              <a:t>5</a:t>
            </a:fld>
            <a:endParaRPr lang="en-US"/>
          </a:p>
        </p:txBody>
      </p:sp>
    </p:spTree>
    <p:extLst>
      <p:ext uri="{BB962C8B-B14F-4D97-AF65-F5344CB8AC3E}">
        <p14:creationId xmlns:p14="http://schemas.microsoft.com/office/powerpoint/2010/main" val="1285385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AU" sz="1200" kern="1200" dirty="0">
              <a:solidFill>
                <a:schemeClr val="tx1"/>
              </a:solidFill>
              <a:effectLst/>
              <a:latin typeface="+mn-lt"/>
              <a:ea typeface="+mn-ea"/>
              <a:cs typeface="+mn-cs"/>
            </a:endParaRPr>
          </a:p>
          <a:p>
            <a:endParaRPr lang="en-AU" dirty="0"/>
          </a:p>
        </p:txBody>
      </p:sp>
      <p:sp>
        <p:nvSpPr>
          <p:cNvPr id="4" name="Slide Number Placeholder 3"/>
          <p:cNvSpPr>
            <a:spLocks noGrp="1"/>
          </p:cNvSpPr>
          <p:nvPr>
            <p:ph type="sldNum" sz="quarter" idx="5"/>
          </p:nvPr>
        </p:nvSpPr>
        <p:spPr/>
        <p:txBody>
          <a:bodyPr/>
          <a:lstStyle/>
          <a:p>
            <a:fld id="{1BEA80CD-AE39-0C4B-A880-515F813E088A}" type="slidenum">
              <a:rPr lang="en-US" smtClean="0"/>
              <a:t>6</a:t>
            </a:fld>
            <a:endParaRPr lang="en-US"/>
          </a:p>
        </p:txBody>
      </p:sp>
    </p:spTree>
    <p:extLst>
      <p:ext uri="{BB962C8B-B14F-4D97-AF65-F5344CB8AC3E}">
        <p14:creationId xmlns:p14="http://schemas.microsoft.com/office/powerpoint/2010/main" val="5659475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7B1B6-E21C-99A7-A7BF-C7650EAE46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ED3F4D-E5EF-5550-E7C6-AD2A4CAE69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E15C6B-478F-3E4A-7364-90F5B6049871}"/>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E350E784-0745-A81B-746A-BBAB00B2B4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1EC8BC-C004-4403-9846-C8FABBF7BFD6}"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49534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1EC8BC-C004-4403-9846-C8FABBF7BFD6}"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1487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2CF0C-018D-D754-2D4F-10AC24501D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613EC4-96A3-029A-95EB-92384D59AF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D17639-A8F9-4C60-C481-6C618ED15C40}"/>
              </a:ext>
            </a:extLst>
          </p:cNvPr>
          <p:cNvSpPr>
            <a:spLocks noGrp="1"/>
          </p:cNvSpPr>
          <p:nvPr>
            <p:ph type="body" idx="1"/>
          </p:nvPr>
        </p:nvSpPr>
        <p:spPr/>
        <p:txBody>
          <a:bodyPr/>
          <a:lstStyle/>
          <a:p>
            <a:endParaRPr lang="en-AU" b="1" dirty="0"/>
          </a:p>
        </p:txBody>
      </p:sp>
      <p:sp>
        <p:nvSpPr>
          <p:cNvPr id="4" name="Slide Number Placeholder 3">
            <a:extLst>
              <a:ext uri="{FF2B5EF4-FFF2-40B4-BE49-F238E27FC236}">
                <a16:creationId xmlns:a16="http://schemas.microsoft.com/office/drawing/2014/main" id="{E3B44E1E-0D25-B558-5CBE-8990DE5AB5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1EC8BC-C004-4403-9846-C8FABBF7BFD6}"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94508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D5113-57A5-9394-9EAC-AE049E0FC471}"/>
              </a:ext>
            </a:extLst>
          </p:cNvPr>
          <p:cNvSpPr>
            <a:spLocks noGrp="1"/>
          </p:cNvSpPr>
          <p:nvPr>
            <p:ph type="ctrTitle"/>
          </p:nvPr>
        </p:nvSpPr>
        <p:spPr>
          <a:xfrm>
            <a:off x="1984003" y="3702358"/>
            <a:ext cx="6571317" cy="780120"/>
          </a:xfrm>
        </p:spPr>
        <p:txBody>
          <a:bodyPr anchor="t" anchorCtr="0"/>
          <a:lstStyle>
            <a:lvl1pPr algn="l">
              <a:defRPr sz="3500" b="0" i="0">
                <a:solidFill>
                  <a:schemeClr val="bg1"/>
                </a:solidFill>
                <a:latin typeface="ABC Oracle Medium" panose="020B0504040202060203" pitchFamily="34" charset="77"/>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0F1D9585-239A-5710-5FBB-F38F3137D466}"/>
              </a:ext>
            </a:extLst>
          </p:cNvPr>
          <p:cNvSpPr>
            <a:spLocks noGrp="1"/>
          </p:cNvSpPr>
          <p:nvPr>
            <p:ph type="subTitle" idx="1"/>
          </p:nvPr>
        </p:nvSpPr>
        <p:spPr>
          <a:xfrm>
            <a:off x="2001357" y="4488870"/>
            <a:ext cx="6566752" cy="1598604"/>
          </a:xfrm>
        </p:spPr>
        <p:txBody>
          <a:bodyPr anchor="t" anchorCtr="0"/>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1" name="Graphic 9">
            <a:extLst>
              <a:ext uri="{FF2B5EF4-FFF2-40B4-BE49-F238E27FC236}">
                <a16:creationId xmlns:a16="http://schemas.microsoft.com/office/drawing/2014/main" id="{7C687F61-C361-715E-64E1-F940513FF331}"/>
              </a:ext>
            </a:extLst>
          </p:cNvPr>
          <p:cNvSpPr/>
          <p:nvPr/>
        </p:nvSpPr>
        <p:spPr>
          <a:xfrm>
            <a:off x="333637" y="298711"/>
            <a:ext cx="4232364" cy="2633050"/>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bg1"/>
          </a:solidFill>
          <a:ln w="9509" cap="flat">
            <a:noFill/>
            <a:prstDash val="solid"/>
            <a:miter/>
          </a:ln>
        </p:spPr>
        <p:txBody>
          <a:bodyPr rtlCol="0" anchor="ctr"/>
          <a:lstStyle/>
          <a:p>
            <a:endParaRPr lang="en-US"/>
          </a:p>
        </p:txBody>
      </p:sp>
      <p:sp>
        <p:nvSpPr>
          <p:cNvPr id="5" name="Footer Placeholder 4">
            <a:extLst>
              <a:ext uri="{FF2B5EF4-FFF2-40B4-BE49-F238E27FC236}">
                <a16:creationId xmlns:a16="http://schemas.microsoft.com/office/drawing/2014/main" id="{6E921332-E814-972E-C4E3-95339D3485E1}"/>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280687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eature Cop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14322" y="269600"/>
            <a:ext cx="7132401" cy="3159399"/>
          </a:xfrm>
        </p:spPr>
        <p:txBody>
          <a:bodyPr/>
          <a:lstStyle>
            <a:lvl1pPr>
              <a:defRPr sz="4200" b="0" i="0">
                <a:solidFill>
                  <a:schemeClr val="bg1"/>
                </a:solidFill>
                <a:latin typeface="+mj-lt"/>
              </a:defRPr>
            </a:lvl1pPr>
          </a:lstStyle>
          <a:p>
            <a:r>
              <a:rPr lang="en-US" dirty="0"/>
              <a:t>Click to edit Master title style</a:t>
            </a:r>
            <a:endParaRPr lang="en-GB" dirty="0"/>
          </a:p>
        </p:txBody>
      </p:sp>
      <p:sp>
        <p:nvSpPr>
          <p:cNvPr id="3" name="Graphic 9">
            <a:extLst>
              <a:ext uri="{FF2B5EF4-FFF2-40B4-BE49-F238E27FC236}">
                <a16:creationId xmlns:a16="http://schemas.microsoft.com/office/drawing/2014/main" id="{9B1AB03E-57D3-D012-D1A8-49BD6BF75415}"/>
              </a:ext>
            </a:extLst>
          </p:cNvPr>
          <p:cNvSpPr/>
          <p:nvPr userDrawn="1"/>
        </p:nvSpPr>
        <p:spPr>
          <a:xfrm>
            <a:off x="352425" y="5770222"/>
            <a:ext cx="1250905" cy="778216"/>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bg1"/>
          </a:solidFill>
          <a:ln w="9509" cap="flat">
            <a:noFill/>
            <a:prstDash val="solid"/>
            <a:miter/>
          </a:ln>
        </p:spPr>
        <p:txBody>
          <a:bodyPr rtlCol="0" anchor="ctr"/>
          <a:lstStyle/>
          <a:p>
            <a:endParaRPr lang="en-US"/>
          </a:p>
        </p:txBody>
      </p:sp>
      <p:sp>
        <p:nvSpPr>
          <p:cNvPr id="8" name="Slide Number Placeholder 7">
            <a:extLst>
              <a:ext uri="{FF2B5EF4-FFF2-40B4-BE49-F238E27FC236}">
                <a16:creationId xmlns:a16="http://schemas.microsoft.com/office/drawing/2014/main" id="{231C67D6-C5B6-BEE1-88C5-321259FD8646}"/>
              </a:ext>
            </a:extLst>
          </p:cNvPr>
          <p:cNvSpPr>
            <a:spLocks noGrp="1"/>
          </p:cNvSpPr>
          <p:nvPr>
            <p:ph type="sldNum" sz="quarter" idx="12"/>
          </p:nvPr>
        </p:nvSpPr>
        <p:spPr/>
        <p:txBody>
          <a:bodyPr/>
          <a:lstStyle>
            <a:lvl1pPr>
              <a:defRPr>
                <a:solidFill>
                  <a:schemeClr val="bg1"/>
                </a:solidFill>
              </a:defRPr>
            </a:lvl1pPr>
          </a:lstStyle>
          <a:p>
            <a:fld id="{741AFF56-1126-4107-9C02-BC0EFBF16431}" type="slidenum">
              <a:rPr lang="en-GB" smtClean="0"/>
              <a:pPr/>
              <a:t>‹#›</a:t>
            </a:fld>
            <a:endParaRPr lang="en-GB" dirty="0"/>
          </a:p>
        </p:txBody>
      </p:sp>
      <p:sp>
        <p:nvSpPr>
          <p:cNvPr id="4" name="Footer Placeholder 4">
            <a:extLst>
              <a:ext uri="{FF2B5EF4-FFF2-40B4-BE49-F238E27FC236}">
                <a16:creationId xmlns:a16="http://schemas.microsoft.com/office/drawing/2014/main" id="{B43BF3A9-891A-B059-29FB-D64323A90CFE}"/>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30524192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D43568E-B69F-31A9-5D84-5E0B7D27CE56}"/>
              </a:ext>
            </a:extLst>
          </p:cNvPr>
          <p:cNvSpPr>
            <a:spLocks noGrp="1"/>
          </p:cNvSpPr>
          <p:nvPr>
            <p:ph type="pic" sz="quarter" idx="13"/>
          </p:nvPr>
        </p:nvSpPr>
        <p:spPr>
          <a:xfrm>
            <a:off x="6096000" y="0"/>
            <a:ext cx="6096000" cy="6858000"/>
          </a:xfrm>
          <a:solidFill>
            <a:schemeClr val="bg1">
              <a:lumMod val="85000"/>
            </a:schemeClr>
          </a:solidFill>
        </p:spPr>
        <p:txBody>
          <a:bodyPr anchor="ctr" anchorCtr="0"/>
          <a:lstStyle>
            <a:lvl1pPr algn="ctr">
              <a:defRPr sz="1000"/>
            </a:lvl1pPr>
          </a:lstStyle>
          <a:p>
            <a:endParaRPr lang="en-US"/>
          </a:p>
        </p:txBody>
      </p:sp>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26849" y="288389"/>
            <a:ext cx="5403810" cy="1232435"/>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352424" y="1493113"/>
            <a:ext cx="4300995"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p:txBody>
          <a:bodyPr/>
          <a:lstStyle>
            <a:lvl1pPr>
              <a:defRPr>
                <a:solidFill>
                  <a:schemeClr val="bg1"/>
                </a:solidFill>
              </a:defRPr>
            </a:lvl1pPr>
          </a:lstStyle>
          <a:p>
            <a:fld id="{741AFF56-1126-4107-9C02-BC0EFBF16431}" type="slidenum">
              <a:rPr lang="en-GB" smtClean="0"/>
              <a:pPr/>
              <a:t>‹#›</a:t>
            </a:fld>
            <a:endParaRPr lang="en-GB" dirty="0"/>
          </a:p>
        </p:txBody>
      </p:sp>
      <p:sp>
        <p:nvSpPr>
          <p:cNvPr id="12" name="Graphic 9">
            <a:extLst>
              <a:ext uri="{FF2B5EF4-FFF2-40B4-BE49-F238E27FC236}">
                <a16:creationId xmlns:a16="http://schemas.microsoft.com/office/drawing/2014/main" id="{07DE4BE4-C52D-8163-E612-5CD7219CE49C}"/>
              </a:ext>
            </a:extLst>
          </p:cNvPr>
          <p:cNvSpPr/>
          <p:nvPr userDrawn="1"/>
        </p:nvSpPr>
        <p:spPr>
          <a:xfrm>
            <a:off x="352425" y="5770222"/>
            <a:ext cx="1250905" cy="778216"/>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accent1"/>
          </a:solidFill>
          <a:ln w="9509" cap="flat">
            <a:noFill/>
            <a:prstDash val="solid"/>
            <a:miter/>
          </a:ln>
        </p:spPr>
        <p:txBody>
          <a:bodyPr rtlCol="0" anchor="ctr"/>
          <a:lstStyle/>
          <a:p>
            <a:endParaRPr lang="en-US" dirty="0"/>
          </a:p>
        </p:txBody>
      </p:sp>
      <p:sp>
        <p:nvSpPr>
          <p:cNvPr id="4" name="Footer Placeholder 4">
            <a:extLst>
              <a:ext uri="{FF2B5EF4-FFF2-40B4-BE49-F238E27FC236}">
                <a16:creationId xmlns:a16="http://schemas.microsoft.com/office/drawing/2014/main" id="{189C72DD-B617-4FC7-362F-A99AF8E75082}"/>
              </a:ext>
            </a:extLst>
          </p:cNvPr>
          <p:cNvSpPr>
            <a:spLocks noGrp="1"/>
          </p:cNvSpPr>
          <p:nvPr>
            <p:ph type="ftr" sz="quarter" idx="3"/>
          </p:nvPr>
        </p:nvSpPr>
        <p:spPr>
          <a:xfrm>
            <a:off x="1798530" y="6417425"/>
            <a:ext cx="4114800" cy="186484"/>
          </a:xfrm>
          <a:prstGeom prst="rect">
            <a:avLst/>
          </a:prstGeom>
        </p:spPr>
        <p:txBody>
          <a:bodyPr vert="horz" lIns="0" tIns="0" rIns="0" bIns="0" rtlCol="0" anchor="b" anchorCtr="0">
            <a:noAutofit/>
          </a:bodyPr>
          <a:lstStyle>
            <a:lvl1pPr algn="ctr">
              <a:defRPr sz="1000" b="0" i="0">
                <a:solidFill>
                  <a:schemeClr val="tx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12603040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26849" y="288389"/>
            <a:ext cx="5403810" cy="1232435"/>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333635" y="1468061"/>
            <a:ext cx="7545236" cy="4251199"/>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p:txBody>
          <a:bodyPr/>
          <a:lstStyle>
            <a:lvl1pPr>
              <a:defRPr>
                <a:solidFill>
                  <a:schemeClr val="bg1"/>
                </a:solidFill>
              </a:defRPr>
            </a:lvl1pPr>
          </a:lstStyle>
          <a:p>
            <a:fld id="{741AFF56-1126-4107-9C02-BC0EFBF16431}" type="slidenum">
              <a:rPr lang="en-GB" smtClean="0"/>
              <a:pPr/>
              <a:t>‹#›</a:t>
            </a:fld>
            <a:endParaRPr lang="en-GB" dirty="0"/>
          </a:p>
        </p:txBody>
      </p:sp>
      <p:sp>
        <p:nvSpPr>
          <p:cNvPr id="12" name="Graphic 9">
            <a:extLst>
              <a:ext uri="{FF2B5EF4-FFF2-40B4-BE49-F238E27FC236}">
                <a16:creationId xmlns:a16="http://schemas.microsoft.com/office/drawing/2014/main" id="{07DE4BE4-C52D-8163-E612-5CD7219CE49C}"/>
              </a:ext>
            </a:extLst>
          </p:cNvPr>
          <p:cNvSpPr/>
          <p:nvPr userDrawn="1"/>
        </p:nvSpPr>
        <p:spPr>
          <a:xfrm>
            <a:off x="352425" y="5770222"/>
            <a:ext cx="1250905" cy="778216"/>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accent1"/>
          </a:solidFill>
          <a:ln w="9509" cap="flat">
            <a:noFill/>
            <a:prstDash val="solid"/>
            <a:miter/>
          </a:ln>
        </p:spPr>
        <p:txBody>
          <a:bodyPr rtlCol="0" anchor="ctr"/>
          <a:lstStyle/>
          <a:p>
            <a:endParaRPr lang="en-US"/>
          </a:p>
        </p:txBody>
      </p:sp>
      <p:sp>
        <p:nvSpPr>
          <p:cNvPr id="4" name="Footer Placeholder 4">
            <a:extLst>
              <a:ext uri="{FF2B5EF4-FFF2-40B4-BE49-F238E27FC236}">
                <a16:creationId xmlns:a16="http://schemas.microsoft.com/office/drawing/2014/main" id="{A7E709DD-B4DF-F760-665E-1764DED439B5}"/>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38028473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26849" y="288389"/>
            <a:ext cx="5403810" cy="1232435"/>
          </a:xfrm>
        </p:spPr>
        <p:txBody>
          <a:bodyPr/>
          <a:lstStyle>
            <a:lvl1pPr>
              <a:defRPr>
                <a:solidFill>
                  <a:schemeClr val="tx1"/>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352424" y="1493113"/>
            <a:ext cx="4300995" cy="4256334"/>
          </a:xfrm>
        </p:spPr>
        <p:txBody>
          <a:bodyPr/>
          <a:lstStyle>
            <a:lvl1pPr>
              <a:spcBef>
                <a:spcPts val="1800"/>
              </a:spcBef>
              <a:spcAft>
                <a:spcPts val="600"/>
              </a:spcAft>
              <a:defRPr>
                <a:solidFill>
                  <a:schemeClr val="accent3"/>
                </a:solidFill>
              </a:defRPr>
            </a:lvl1pPr>
            <a:lvl2pPr marL="0" indent="0">
              <a:buNone/>
              <a:defRPr>
                <a:solidFill>
                  <a:schemeClr val="accent3"/>
                </a:solidFill>
              </a:defRPr>
            </a:lvl2pPr>
            <a:lvl3pPr marL="355600" indent="-355600">
              <a:tabLst/>
              <a:defRPr>
                <a:solidFill>
                  <a:schemeClr val="accent3"/>
                </a:solidFill>
              </a:defRPr>
            </a:lvl3pPr>
            <a:lvl4pPr marL="712788" indent="-357188">
              <a:tabLst/>
              <a:defRPr>
                <a:solidFill>
                  <a:schemeClr val="accent3"/>
                </a:solidFill>
              </a:defRPr>
            </a:lvl4pPr>
            <a:lvl5pPr marL="1068388" indent="-355600">
              <a:tabLst/>
              <a:defRPr>
                <a:solidFill>
                  <a:schemeClr val="accent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p:txBody>
          <a:bodyPr/>
          <a:lstStyle>
            <a:lvl1pPr>
              <a:defRPr>
                <a:solidFill>
                  <a:schemeClr val="accent3"/>
                </a:solidFill>
              </a:defRPr>
            </a:lvl1pPr>
          </a:lstStyle>
          <a:p>
            <a:fld id="{741AFF56-1126-4107-9C02-BC0EFBF16431}" type="slidenum">
              <a:rPr lang="en-GB" smtClean="0"/>
              <a:pPr/>
              <a:t>‹#›</a:t>
            </a:fld>
            <a:endParaRPr lang="en-GB" dirty="0"/>
          </a:p>
        </p:txBody>
      </p:sp>
      <p:sp>
        <p:nvSpPr>
          <p:cNvPr id="12" name="Graphic 9">
            <a:extLst>
              <a:ext uri="{FF2B5EF4-FFF2-40B4-BE49-F238E27FC236}">
                <a16:creationId xmlns:a16="http://schemas.microsoft.com/office/drawing/2014/main" id="{07DE4BE4-C52D-8163-E612-5CD7219CE49C}"/>
              </a:ext>
            </a:extLst>
          </p:cNvPr>
          <p:cNvSpPr/>
          <p:nvPr userDrawn="1"/>
        </p:nvSpPr>
        <p:spPr>
          <a:xfrm>
            <a:off x="352425" y="5770222"/>
            <a:ext cx="1250905" cy="778216"/>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accent1"/>
          </a:solidFill>
          <a:ln w="9509" cap="flat">
            <a:noFill/>
            <a:prstDash val="solid"/>
            <a:miter/>
          </a:ln>
        </p:spPr>
        <p:txBody>
          <a:bodyPr rtlCol="0" anchor="ctr"/>
          <a:lstStyle/>
          <a:p>
            <a:endParaRPr lang="en-US"/>
          </a:p>
        </p:txBody>
      </p:sp>
      <p:sp>
        <p:nvSpPr>
          <p:cNvPr id="7" name="Slide Number Placeholder 5">
            <a:extLst>
              <a:ext uri="{FF2B5EF4-FFF2-40B4-BE49-F238E27FC236}">
                <a16:creationId xmlns:a16="http://schemas.microsoft.com/office/drawing/2014/main" id="{981B5E96-C20E-3582-E8AB-6D2499FB1A3C}"/>
              </a:ext>
            </a:extLst>
          </p:cNvPr>
          <p:cNvSpPr txBox="1">
            <a:spLocks/>
          </p:cNvSpPr>
          <p:nvPr userDrawn="1"/>
        </p:nvSpPr>
        <p:spPr>
          <a:xfrm>
            <a:off x="13995253" y="6222159"/>
            <a:ext cx="2743200" cy="365125"/>
          </a:xfrm>
          <a:prstGeom prst="rect">
            <a:avLst/>
          </a:prstGeom>
        </p:spPr>
        <p:txBody>
          <a:bodyPr vert="horz" lIns="0" tIns="0" rIns="0" bIns="0" rtlCol="0" anchor="b" anchorCtr="0">
            <a:noAutofit/>
          </a:bodyPr>
          <a:lstStyle>
            <a:defPPr>
              <a:defRPr lang="en-US"/>
            </a:defPPr>
            <a:lvl1pPr marL="0" algn="r" defTabSz="914400" rtl="0" eaLnBrk="1" latinLnBrk="0" hangingPunct="1">
              <a:defRPr sz="1000" b="0" i="0" kern="1200">
                <a:solidFill>
                  <a:schemeClr val="accent3"/>
                </a:solidFill>
                <a:latin typeface="ABC Oracle Medium" panose="020B050404020206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1AFF56-1126-4107-9C02-BC0EFBF16431}" type="slidenum">
              <a:rPr lang="en-GB" smtClean="0"/>
              <a:pPr/>
              <a:t>‹#›</a:t>
            </a:fld>
            <a:endParaRPr lang="en-GB" dirty="0"/>
          </a:p>
        </p:txBody>
      </p:sp>
      <p:sp>
        <p:nvSpPr>
          <p:cNvPr id="8" name="Content Placeholder 2">
            <a:extLst>
              <a:ext uri="{FF2B5EF4-FFF2-40B4-BE49-F238E27FC236}">
                <a16:creationId xmlns:a16="http://schemas.microsoft.com/office/drawing/2014/main" id="{CE1E9FC3-FD80-6B63-EDE0-8BCF742EDEE8}"/>
              </a:ext>
            </a:extLst>
          </p:cNvPr>
          <p:cNvSpPr>
            <a:spLocks noGrp="1"/>
          </p:cNvSpPr>
          <p:nvPr>
            <p:ph idx="13"/>
          </p:nvPr>
        </p:nvSpPr>
        <p:spPr>
          <a:xfrm>
            <a:off x="5231904" y="1493113"/>
            <a:ext cx="4300995" cy="4256334"/>
          </a:xfrm>
        </p:spPr>
        <p:txBody>
          <a:bodyPr/>
          <a:lstStyle>
            <a:lvl1pPr>
              <a:spcBef>
                <a:spcPts val="1800"/>
              </a:spcBef>
              <a:spcAft>
                <a:spcPts val="600"/>
              </a:spcAft>
              <a:defRPr>
                <a:solidFill>
                  <a:schemeClr val="accent3"/>
                </a:solidFill>
              </a:defRPr>
            </a:lvl1pPr>
            <a:lvl2pPr marL="0" indent="0">
              <a:buNone/>
              <a:defRPr>
                <a:solidFill>
                  <a:schemeClr val="accent3"/>
                </a:solidFill>
              </a:defRPr>
            </a:lvl2pPr>
            <a:lvl3pPr marL="355600" indent="-355600">
              <a:tabLst/>
              <a:defRPr>
                <a:solidFill>
                  <a:schemeClr val="accent3"/>
                </a:solidFill>
              </a:defRPr>
            </a:lvl3pPr>
            <a:lvl4pPr marL="712788" indent="-357188">
              <a:tabLst/>
              <a:defRPr>
                <a:solidFill>
                  <a:schemeClr val="accent3"/>
                </a:solidFill>
              </a:defRPr>
            </a:lvl4pPr>
            <a:lvl5pPr marL="1068388" indent="-355600">
              <a:tabLst/>
              <a:defRPr>
                <a:solidFill>
                  <a:schemeClr val="accent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Footer Placeholder 4">
            <a:extLst>
              <a:ext uri="{FF2B5EF4-FFF2-40B4-BE49-F238E27FC236}">
                <a16:creationId xmlns:a16="http://schemas.microsoft.com/office/drawing/2014/main" id="{90E1AFF1-83F6-B417-3FB2-F082A2B78ABC}"/>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tx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12473948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26849" y="300915"/>
            <a:ext cx="5403810" cy="1232435"/>
          </a:xfrm>
        </p:spPr>
        <p:txBody>
          <a:bodyPr/>
          <a:lstStyle>
            <a:lvl1pPr>
              <a:defRPr sz="2000" b="0" i="0">
                <a:solidFill>
                  <a:schemeClr val="accent1"/>
                </a:solidFill>
                <a:latin typeface="ABC Oracle Medium" panose="020B0504040202060203" pitchFamily="34" charset="77"/>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8755693" y="304974"/>
            <a:ext cx="3125157" cy="1203325"/>
          </a:xfrm>
        </p:spPr>
        <p:txBody>
          <a:bodyPr/>
          <a:lstStyle>
            <a:lvl1pPr>
              <a:spcBef>
                <a:spcPts val="0"/>
              </a:spcBef>
              <a:spcAft>
                <a:spcPts val="0"/>
              </a:spcAft>
              <a:defRPr sz="900">
                <a:solidFill>
                  <a:schemeClr val="tx1"/>
                </a:solidFill>
              </a:defRPr>
            </a:lvl1pPr>
            <a:lvl2pPr marL="0" indent="0">
              <a:buNone/>
              <a:defRPr sz="900">
                <a:solidFill>
                  <a:schemeClr val="tx1"/>
                </a:solidFill>
              </a:defRPr>
            </a:lvl2pPr>
            <a:lvl3pPr marL="180975" indent="-180975">
              <a:tabLst/>
              <a:defRPr sz="900">
                <a:solidFill>
                  <a:schemeClr val="tx1"/>
                </a:solidFill>
              </a:defRPr>
            </a:lvl3pPr>
            <a:lvl4pPr marL="355600" indent="-174625">
              <a:tabLst/>
              <a:defRPr sz="900">
                <a:solidFill>
                  <a:schemeClr val="tx1"/>
                </a:solidFill>
              </a:defRPr>
            </a:lvl4pPr>
            <a:lvl5pPr marL="536575" indent="-180975">
              <a:tabLst/>
              <a:defRPr sz="9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p:txBody>
          <a:bodyPr/>
          <a:lstStyle>
            <a:lvl1pPr>
              <a:defRPr>
                <a:solidFill>
                  <a:schemeClr val="accent3"/>
                </a:solidFill>
              </a:defRPr>
            </a:lvl1pPr>
          </a:lstStyle>
          <a:p>
            <a:fld id="{741AFF56-1126-4107-9C02-BC0EFBF16431}" type="slidenum">
              <a:rPr lang="en-GB" smtClean="0"/>
              <a:pPr/>
              <a:t>‹#›</a:t>
            </a:fld>
            <a:endParaRPr lang="en-GB" dirty="0"/>
          </a:p>
        </p:txBody>
      </p:sp>
      <p:sp>
        <p:nvSpPr>
          <p:cNvPr id="7" name="Slide Number Placeholder 5">
            <a:extLst>
              <a:ext uri="{FF2B5EF4-FFF2-40B4-BE49-F238E27FC236}">
                <a16:creationId xmlns:a16="http://schemas.microsoft.com/office/drawing/2014/main" id="{981B5E96-C20E-3582-E8AB-6D2499FB1A3C}"/>
              </a:ext>
            </a:extLst>
          </p:cNvPr>
          <p:cNvSpPr txBox="1">
            <a:spLocks/>
          </p:cNvSpPr>
          <p:nvPr userDrawn="1"/>
        </p:nvSpPr>
        <p:spPr>
          <a:xfrm>
            <a:off x="13995253" y="6222159"/>
            <a:ext cx="2743200" cy="365125"/>
          </a:xfrm>
          <a:prstGeom prst="rect">
            <a:avLst/>
          </a:prstGeom>
        </p:spPr>
        <p:txBody>
          <a:bodyPr vert="horz" lIns="0" tIns="0" rIns="0" bIns="0" rtlCol="0" anchor="b" anchorCtr="0">
            <a:noAutofit/>
          </a:bodyPr>
          <a:lstStyle>
            <a:defPPr>
              <a:defRPr lang="en-US"/>
            </a:defPPr>
            <a:lvl1pPr marL="0" algn="r" defTabSz="914400" rtl="0" eaLnBrk="1" latinLnBrk="0" hangingPunct="1">
              <a:defRPr sz="1000" b="0" i="0" kern="1200">
                <a:solidFill>
                  <a:schemeClr val="accent3"/>
                </a:solidFill>
                <a:latin typeface="ABC Oracle Medium" panose="020B050404020206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1AFF56-1126-4107-9C02-BC0EFBF16431}" type="slidenum">
              <a:rPr lang="en-GB" smtClean="0"/>
              <a:pPr/>
              <a:t>‹#›</a:t>
            </a:fld>
            <a:endParaRPr lang="en-GB" dirty="0"/>
          </a:p>
        </p:txBody>
      </p:sp>
      <p:sp>
        <p:nvSpPr>
          <p:cNvPr id="10" name="Content Placeholder 9">
            <a:extLst>
              <a:ext uri="{FF2B5EF4-FFF2-40B4-BE49-F238E27FC236}">
                <a16:creationId xmlns:a16="http://schemas.microsoft.com/office/drawing/2014/main" id="{FBEEC9F0-F2E5-04D3-6E4F-6FD5A888496E}"/>
              </a:ext>
            </a:extLst>
          </p:cNvPr>
          <p:cNvSpPr>
            <a:spLocks noGrp="1"/>
          </p:cNvSpPr>
          <p:nvPr>
            <p:ph sz="quarter" idx="13"/>
          </p:nvPr>
        </p:nvSpPr>
        <p:spPr>
          <a:xfrm>
            <a:off x="352425" y="1520824"/>
            <a:ext cx="11528425" cy="50276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Footer Placeholder 4">
            <a:extLst>
              <a:ext uri="{FF2B5EF4-FFF2-40B4-BE49-F238E27FC236}">
                <a16:creationId xmlns:a16="http://schemas.microsoft.com/office/drawing/2014/main" id="{884FAA58-F1B4-531A-061A-6D4457DF3FC8}"/>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tx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34880989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and Content">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26849" y="288389"/>
            <a:ext cx="5403810" cy="1232435"/>
          </a:xfrm>
        </p:spPr>
        <p:txBody>
          <a:bodyPr/>
          <a:lstStyle>
            <a:lvl1pPr>
              <a:defRPr sz="3000" b="0" i="0">
                <a:solidFill>
                  <a:schemeClr val="accent1"/>
                </a:solidFill>
                <a:latin typeface="ABC Oracle Medium" panose="020B0504040202060203" pitchFamily="34" charset="77"/>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8755693" y="304974"/>
            <a:ext cx="3125157" cy="1203325"/>
          </a:xfrm>
        </p:spPr>
        <p:txBody>
          <a:bodyPr/>
          <a:lstStyle>
            <a:lvl1pPr>
              <a:spcBef>
                <a:spcPts val="0"/>
              </a:spcBef>
              <a:spcAft>
                <a:spcPts val="0"/>
              </a:spcAft>
              <a:defRPr sz="900">
                <a:solidFill>
                  <a:schemeClr val="tx1"/>
                </a:solidFill>
              </a:defRPr>
            </a:lvl1pPr>
            <a:lvl2pPr marL="0" indent="0">
              <a:buNone/>
              <a:defRPr sz="900">
                <a:solidFill>
                  <a:schemeClr val="tx1"/>
                </a:solidFill>
              </a:defRPr>
            </a:lvl2pPr>
            <a:lvl3pPr marL="180975" indent="-180975">
              <a:tabLst/>
              <a:defRPr sz="900">
                <a:solidFill>
                  <a:schemeClr val="tx1"/>
                </a:solidFill>
              </a:defRPr>
            </a:lvl3pPr>
            <a:lvl4pPr marL="355600" indent="-174625">
              <a:tabLst/>
              <a:defRPr sz="900">
                <a:solidFill>
                  <a:schemeClr val="tx1"/>
                </a:solidFill>
              </a:defRPr>
            </a:lvl4pPr>
            <a:lvl5pPr marL="536575" indent="-180975">
              <a:tabLst/>
              <a:defRPr sz="9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a:noFill/>
        </p:spPr>
        <p:txBody>
          <a:bodyPr/>
          <a:lstStyle>
            <a:lvl1pPr>
              <a:defRPr>
                <a:solidFill>
                  <a:schemeClr val="accent1"/>
                </a:solidFill>
              </a:defRPr>
            </a:lvl1pPr>
          </a:lstStyle>
          <a:p>
            <a:fld id="{741AFF56-1126-4107-9C02-BC0EFBF16431}" type="slidenum">
              <a:rPr lang="en-GB" smtClean="0"/>
              <a:pPr/>
              <a:t>‹#›</a:t>
            </a:fld>
            <a:endParaRPr lang="en-GB" dirty="0"/>
          </a:p>
        </p:txBody>
      </p:sp>
      <p:sp>
        <p:nvSpPr>
          <p:cNvPr id="7" name="Slide Number Placeholder 5">
            <a:extLst>
              <a:ext uri="{FF2B5EF4-FFF2-40B4-BE49-F238E27FC236}">
                <a16:creationId xmlns:a16="http://schemas.microsoft.com/office/drawing/2014/main" id="{981B5E96-C20E-3582-E8AB-6D2499FB1A3C}"/>
              </a:ext>
            </a:extLst>
          </p:cNvPr>
          <p:cNvSpPr txBox="1">
            <a:spLocks/>
          </p:cNvSpPr>
          <p:nvPr userDrawn="1"/>
        </p:nvSpPr>
        <p:spPr>
          <a:xfrm>
            <a:off x="13995253" y="6222159"/>
            <a:ext cx="2743200" cy="365125"/>
          </a:xfrm>
          <a:prstGeom prst="rect">
            <a:avLst/>
          </a:prstGeom>
        </p:spPr>
        <p:txBody>
          <a:bodyPr vert="horz" lIns="0" tIns="0" rIns="0" bIns="0" rtlCol="0" anchor="b" anchorCtr="0">
            <a:noAutofit/>
          </a:bodyPr>
          <a:lstStyle>
            <a:defPPr>
              <a:defRPr lang="en-US"/>
            </a:defPPr>
            <a:lvl1pPr marL="0" algn="r" defTabSz="914400" rtl="0" eaLnBrk="1" latinLnBrk="0" hangingPunct="1">
              <a:defRPr sz="1000" b="0" i="0" kern="1200">
                <a:solidFill>
                  <a:schemeClr val="accent3"/>
                </a:solidFill>
                <a:latin typeface="ABC Oracle Medium" panose="020B050404020206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1AFF56-1126-4107-9C02-BC0EFBF16431}" type="slidenum">
              <a:rPr lang="en-GB" smtClean="0"/>
              <a:pPr/>
              <a:t>‹#›</a:t>
            </a:fld>
            <a:endParaRPr lang="en-GB" dirty="0"/>
          </a:p>
        </p:txBody>
      </p:sp>
      <p:sp>
        <p:nvSpPr>
          <p:cNvPr id="10" name="Content Placeholder 9">
            <a:extLst>
              <a:ext uri="{FF2B5EF4-FFF2-40B4-BE49-F238E27FC236}">
                <a16:creationId xmlns:a16="http://schemas.microsoft.com/office/drawing/2014/main" id="{FBEEC9F0-F2E5-04D3-6E4F-6FD5A888496E}"/>
              </a:ext>
            </a:extLst>
          </p:cNvPr>
          <p:cNvSpPr>
            <a:spLocks noGrp="1"/>
          </p:cNvSpPr>
          <p:nvPr>
            <p:ph sz="quarter" idx="13"/>
          </p:nvPr>
        </p:nvSpPr>
        <p:spPr>
          <a:xfrm>
            <a:off x="352425" y="1520824"/>
            <a:ext cx="11528425" cy="5027613"/>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Footer Placeholder 4">
            <a:extLst>
              <a:ext uri="{FF2B5EF4-FFF2-40B4-BE49-F238E27FC236}">
                <a16:creationId xmlns:a16="http://schemas.microsoft.com/office/drawing/2014/main" id="{EBE8D23D-CB16-3CD8-EC66-E391FD4D4BA5}"/>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accent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7135427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26849" y="288389"/>
            <a:ext cx="5403810" cy="1232435"/>
          </a:xfrm>
        </p:spPr>
        <p:txBody>
          <a:bodyPr/>
          <a:lstStyle>
            <a:lvl1pPr>
              <a:defRPr sz="3000" b="0" i="0">
                <a:solidFill>
                  <a:schemeClr val="bg1"/>
                </a:solidFill>
                <a:latin typeface="ABC Oracle Medium" panose="020B0504040202060203" pitchFamily="34" charset="77"/>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8755693" y="304974"/>
            <a:ext cx="3125157" cy="1203325"/>
          </a:xfrm>
        </p:spPr>
        <p:txBody>
          <a:bodyPr/>
          <a:lstStyle>
            <a:lvl1pPr>
              <a:spcBef>
                <a:spcPts val="0"/>
              </a:spcBef>
              <a:spcAft>
                <a:spcPts val="0"/>
              </a:spcAft>
              <a:defRPr sz="900">
                <a:solidFill>
                  <a:schemeClr val="bg1"/>
                </a:solidFill>
              </a:defRPr>
            </a:lvl1pPr>
            <a:lvl2pPr marL="0" indent="0">
              <a:buNone/>
              <a:defRPr sz="900">
                <a:solidFill>
                  <a:schemeClr val="bg1"/>
                </a:solidFill>
              </a:defRPr>
            </a:lvl2pPr>
            <a:lvl3pPr marL="180975" indent="-180975">
              <a:tabLst/>
              <a:defRPr sz="900">
                <a:solidFill>
                  <a:schemeClr val="bg1"/>
                </a:solidFill>
              </a:defRPr>
            </a:lvl3pPr>
            <a:lvl4pPr marL="355600" indent="-174625">
              <a:tabLst/>
              <a:defRPr sz="900">
                <a:solidFill>
                  <a:schemeClr val="bg1"/>
                </a:solidFill>
              </a:defRPr>
            </a:lvl4pPr>
            <a:lvl5pPr marL="536575" indent="-180975">
              <a:tabLst/>
              <a:defRPr sz="9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a:noFill/>
        </p:spPr>
        <p:txBody>
          <a:bodyPr/>
          <a:lstStyle>
            <a:lvl1pPr>
              <a:defRPr>
                <a:solidFill>
                  <a:schemeClr val="bg1"/>
                </a:solidFill>
              </a:defRPr>
            </a:lvl1pPr>
          </a:lstStyle>
          <a:p>
            <a:fld id="{741AFF56-1126-4107-9C02-BC0EFBF16431}" type="slidenum">
              <a:rPr lang="en-GB" smtClean="0"/>
              <a:pPr/>
              <a:t>‹#›</a:t>
            </a:fld>
            <a:endParaRPr lang="en-GB" dirty="0"/>
          </a:p>
        </p:txBody>
      </p:sp>
      <p:sp>
        <p:nvSpPr>
          <p:cNvPr id="7" name="Slide Number Placeholder 5">
            <a:extLst>
              <a:ext uri="{FF2B5EF4-FFF2-40B4-BE49-F238E27FC236}">
                <a16:creationId xmlns:a16="http://schemas.microsoft.com/office/drawing/2014/main" id="{981B5E96-C20E-3582-E8AB-6D2499FB1A3C}"/>
              </a:ext>
            </a:extLst>
          </p:cNvPr>
          <p:cNvSpPr txBox="1">
            <a:spLocks/>
          </p:cNvSpPr>
          <p:nvPr userDrawn="1"/>
        </p:nvSpPr>
        <p:spPr>
          <a:xfrm>
            <a:off x="13995253" y="6222159"/>
            <a:ext cx="2743200" cy="365125"/>
          </a:xfrm>
          <a:prstGeom prst="rect">
            <a:avLst/>
          </a:prstGeom>
        </p:spPr>
        <p:txBody>
          <a:bodyPr vert="horz" lIns="0" tIns="0" rIns="0" bIns="0" rtlCol="0" anchor="b" anchorCtr="0">
            <a:noAutofit/>
          </a:bodyPr>
          <a:lstStyle>
            <a:defPPr>
              <a:defRPr lang="en-US"/>
            </a:defPPr>
            <a:lvl1pPr marL="0" algn="r" defTabSz="914400" rtl="0" eaLnBrk="1" latinLnBrk="0" hangingPunct="1">
              <a:defRPr sz="1000" b="0" i="0" kern="1200">
                <a:solidFill>
                  <a:schemeClr val="accent3"/>
                </a:solidFill>
                <a:latin typeface="ABC Oracle Medium" panose="020B050404020206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1AFF56-1126-4107-9C02-BC0EFBF16431}" type="slidenum">
              <a:rPr lang="en-GB" smtClean="0"/>
              <a:pPr/>
              <a:t>‹#›</a:t>
            </a:fld>
            <a:endParaRPr lang="en-GB" dirty="0"/>
          </a:p>
        </p:txBody>
      </p:sp>
      <p:sp>
        <p:nvSpPr>
          <p:cNvPr id="10" name="Content Placeholder 9">
            <a:extLst>
              <a:ext uri="{FF2B5EF4-FFF2-40B4-BE49-F238E27FC236}">
                <a16:creationId xmlns:a16="http://schemas.microsoft.com/office/drawing/2014/main" id="{FBEEC9F0-F2E5-04D3-6E4F-6FD5A888496E}"/>
              </a:ext>
            </a:extLst>
          </p:cNvPr>
          <p:cNvSpPr>
            <a:spLocks noGrp="1"/>
          </p:cNvSpPr>
          <p:nvPr>
            <p:ph sz="quarter" idx="13"/>
          </p:nvPr>
        </p:nvSpPr>
        <p:spPr>
          <a:xfrm>
            <a:off x="352425" y="1520824"/>
            <a:ext cx="11528425" cy="50276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Footer Placeholder 4">
            <a:extLst>
              <a:ext uri="{FF2B5EF4-FFF2-40B4-BE49-F238E27FC236}">
                <a16:creationId xmlns:a16="http://schemas.microsoft.com/office/drawing/2014/main" id="{49B5B446-BF61-9273-73C2-7E54AB446BBC}"/>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2686396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26849" y="288389"/>
            <a:ext cx="5403810" cy="1232435"/>
          </a:xfrm>
        </p:spPr>
        <p:txBody>
          <a:bodyPr/>
          <a:lstStyle>
            <a:lvl1pPr>
              <a:defRPr sz="3000" b="0" i="0">
                <a:solidFill>
                  <a:schemeClr val="accent1"/>
                </a:solidFill>
                <a:latin typeface="ABC Oracle Medium" panose="020B0504040202060203" pitchFamily="34" charset="77"/>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8755693" y="304974"/>
            <a:ext cx="3125157" cy="1203325"/>
          </a:xfrm>
        </p:spPr>
        <p:txBody>
          <a:bodyPr/>
          <a:lstStyle>
            <a:lvl1pPr>
              <a:spcBef>
                <a:spcPts val="0"/>
              </a:spcBef>
              <a:spcAft>
                <a:spcPts val="0"/>
              </a:spcAft>
              <a:defRPr sz="900">
                <a:solidFill>
                  <a:schemeClr val="tx1"/>
                </a:solidFill>
              </a:defRPr>
            </a:lvl1pPr>
            <a:lvl2pPr marL="0" indent="0">
              <a:buNone/>
              <a:defRPr sz="900">
                <a:solidFill>
                  <a:schemeClr val="tx1"/>
                </a:solidFill>
              </a:defRPr>
            </a:lvl2pPr>
            <a:lvl3pPr marL="180975" indent="-180975">
              <a:tabLst/>
              <a:defRPr sz="900">
                <a:solidFill>
                  <a:schemeClr val="tx1"/>
                </a:solidFill>
              </a:defRPr>
            </a:lvl3pPr>
            <a:lvl4pPr marL="355600" indent="-174625">
              <a:tabLst/>
              <a:defRPr sz="900">
                <a:solidFill>
                  <a:schemeClr val="tx1"/>
                </a:solidFill>
              </a:defRPr>
            </a:lvl4pPr>
            <a:lvl5pPr marL="536575" indent="-180975">
              <a:tabLst/>
              <a:defRPr sz="9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a:noFill/>
        </p:spPr>
        <p:txBody>
          <a:bodyPr/>
          <a:lstStyle>
            <a:lvl1pPr>
              <a:defRPr>
                <a:solidFill>
                  <a:schemeClr val="tx1"/>
                </a:solidFill>
              </a:defRPr>
            </a:lvl1pPr>
          </a:lstStyle>
          <a:p>
            <a:fld id="{741AFF56-1126-4107-9C02-BC0EFBF16431}" type="slidenum">
              <a:rPr lang="en-GB" smtClean="0"/>
              <a:pPr/>
              <a:t>‹#›</a:t>
            </a:fld>
            <a:endParaRPr lang="en-GB" dirty="0"/>
          </a:p>
        </p:txBody>
      </p:sp>
      <p:sp>
        <p:nvSpPr>
          <p:cNvPr id="7" name="Slide Number Placeholder 5">
            <a:extLst>
              <a:ext uri="{FF2B5EF4-FFF2-40B4-BE49-F238E27FC236}">
                <a16:creationId xmlns:a16="http://schemas.microsoft.com/office/drawing/2014/main" id="{981B5E96-C20E-3582-E8AB-6D2499FB1A3C}"/>
              </a:ext>
            </a:extLst>
          </p:cNvPr>
          <p:cNvSpPr txBox="1">
            <a:spLocks/>
          </p:cNvSpPr>
          <p:nvPr userDrawn="1"/>
        </p:nvSpPr>
        <p:spPr>
          <a:xfrm>
            <a:off x="13995253" y="6222159"/>
            <a:ext cx="2743200" cy="365125"/>
          </a:xfrm>
          <a:prstGeom prst="rect">
            <a:avLst/>
          </a:prstGeom>
        </p:spPr>
        <p:txBody>
          <a:bodyPr vert="horz" lIns="0" tIns="0" rIns="0" bIns="0" rtlCol="0" anchor="b" anchorCtr="0">
            <a:noAutofit/>
          </a:bodyPr>
          <a:lstStyle>
            <a:defPPr>
              <a:defRPr lang="en-US"/>
            </a:defPPr>
            <a:lvl1pPr marL="0" algn="r" defTabSz="914400" rtl="0" eaLnBrk="1" latinLnBrk="0" hangingPunct="1">
              <a:defRPr sz="1000" b="0" i="0" kern="1200">
                <a:solidFill>
                  <a:schemeClr val="accent3"/>
                </a:solidFill>
                <a:latin typeface="ABC Oracle Medium" panose="020B050404020206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1AFF56-1126-4107-9C02-BC0EFBF16431}" type="slidenum">
              <a:rPr lang="en-GB" smtClean="0"/>
              <a:pPr/>
              <a:t>‹#›</a:t>
            </a:fld>
            <a:endParaRPr lang="en-GB" dirty="0"/>
          </a:p>
        </p:txBody>
      </p:sp>
      <p:sp>
        <p:nvSpPr>
          <p:cNvPr id="10" name="Content Placeholder 9">
            <a:extLst>
              <a:ext uri="{FF2B5EF4-FFF2-40B4-BE49-F238E27FC236}">
                <a16:creationId xmlns:a16="http://schemas.microsoft.com/office/drawing/2014/main" id="{FBEEC9F0-F2E5-04D3-6E4F-6FD5A888496E}"/>
              </a:ext>
            </a:extLst>
          </p:cNvPr>
          <p:cNvSpPr>
            <a:spLocks noGrp="1"/>
          </p:cNvSpPr>
          <p:nvPr>
            <p:ph sz="quarter" idx="13"/>
          </p:nvPr>
        </p:nvSpPr>
        <p:spPr>
          <a:xfrm>
            <a:off x="352425" y="1520824"/>
            <a:ext cx="11528425" cy="502761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Footer Placeholder 4">
            <a:extLst>
              <a:ext uri="{FF2B5EF4-FFF2-40B4-BE49-F238E27FC236}">
                <a16:creationId xmlns:a16="http://schemas.microsoft.com/office/drawing/2014/main" id="{4660D2EA-6D20-7E9D-AE74-606945F6FE28}"/>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tx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39155984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accent1"/>
        </a:solidFill>
        <a:effectLst/>
      </p:bgPr>
    </p:bg>
    <p:spTree>
      <p:nvGrpSpPr>
        <p:cNvPr id="1" name=""/>
        <p:cNvGrpSpPr/>
        <p:nvPr/>
      </p:nvGrpSpPr>
      <p:grpSpPr>
        <a:xfrm>
          <a:off x="0" y="0"/>
          <a:ext cx="0" cy="0"/>
          <a:chOff x="0" y="0"/>
          <a:chExt cx="0" cy="0"/>
        </a:xfrm>
      </p:grpSpPr>
      <p:grpSp>
        <p:nvGrpSpPr>
          <p:cNvPr id="83" name="Group 82">
            <a:extLst>
              <a:ext uri="{FF2B5EF4-FFF2-40B4-BE49-F238E27FC236}">
                <a16:creationId xmlns:a16="http://schemas.microsoft.com/office/drawing/2014/main" id="{D12EF5E7-BD8E-CAB9-E725-345E21653ECD}"/>
              </a:ext>
            </a:extLst>
          </p:cNvPr>
          <p:cNvGrpSpPr/>
          <p:nvPr userDrawn="1"/>
        </p:nvGrpSpPr>
        <p:grpSpPr>
          <a:xfrm>
            <a:off x="417526" y="387280"/>
            <a:ext cx="11340345" cy="6075045"/>
            <a:chOff x="417526" y="387280"/>
            <a:chExt cx="11340345" cy="6075045"/>
          </a:xfrm>
        </p:grpSpPr>
        <p:sp>
          <p:nvSpPr>
            <p:cNvPr id="12" name="Freeform 11">
              <a:extLst>
                <a:ext uri="{FF2B5EF4-FFF2-40B4-BE49-F238E27FC236}">
                  <a16:creationId xmlns:a16="http://schemas.microsoft.com/office/drawing/2014/main" id="{DB6E64BA-5E3F-0B13-F3BD-289BBB0BEB04}"/>
                </a:ext>
              </a:extLst>
            </p:cNvPr>
            <p:cNvSpPr/>
            <p:nvPr/>
          </p:nvSpPr>
          <p:spPr>
            <a:xfrm>
              <a:off x="3627164" y="1507599"/>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0" y="180201"/>
                    <a:pt x="180113" y="139839"/>
                    <a:pt x="180113" y="90101"/>
                  </a:cubicBezTo>
                  <a:cubicBezTo>
                    <a:pt x="180113" y="40362"/>
                    <a:pt x="139770" y="0"/>
                    <a:pt x="90057" y="0"/>
                  </a:cubicBezTo>
                  <a:cubicBezTo>
                    <a:pt x="40342" y="0"/>
                    <a:pt x="0" y="40362"/>
                    <a:pt x="0" y="90101"/>
                  </a:cubicBezTo>
                  <a:cubicBezTo>
                    <a:pt x="0" y="139928"/>
                    <a:pt x="40342" y="180201"/>
                    <a:pt x="90057" y="180201"/>
                  </a:cubicBezTo>
                </a:path>
              </a:pathLst>
            </a:custGeom>
            <a:solidFill>
              <a:srgbClr val="FFFFFF"/>
            </a:solidFill>
            <a:ln w="8925"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2A486A8-CC89-9FB4-E3D0-C4E0732EE99F}"/>
                </a:ext>
              </a:extLst>
            </p:cNvPr>
            <p:cNvSpPr/>
            <p:nvPr/>
          </p:nvSpPr>
          <p:spPr>
            <a:xfrm>
              <a:off x="3627164" y="387280"/>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0" y="180201"/>
                    <a:pt x="180113" y="139839"/>
                    <a:pt x="180113" y="90101"/>
                  </a:cubicBezTo>
                  <a:cubicBezTo>
                    <a:pt x="180113" y="40362"/>
                    <a:pt x="139770" y="0"/>
                    <a:pt x="90057" y="0"/>
                  </a:cubicBezTo>
                  <a:cubicBezTo>
                    <a:pt x="40342" y="0"/>
                    <a:pt x="0" y="40362"/>
                    <a:pt x="0" y="90101"/>
                  </a:cubicBezTo>
                  <a:cubicBezTo>
                    <a:pt x="0" y="139928"/>
                    <a:pt x="40342" y="180201"/>
                    <a:pt x="90057" y="180201"/>
                  </a:cubicBezTo>
                </a:path>
              </a:pathLst>
            </a:custGeom>
            <a:solidFill>
              <a:srgbClr val="FFFFFF"/>
            </a:solidFill>
            <a:ln w="8925"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CA9702C-BF9A-D515-F12E-47B1496EE8EC}"/>
                </a:ext>
              </a:extLst>
            </p:cNvPr>
            <p:cNvSpPr/>
            <p:nvPr/>
          </p:nvSpPr>
          <p:spPr>
            <a:xfrm>
              <a:off x="5405447" y="387280"/>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928"/>
                    <a:pt x="40343" y="180201"/>
                    <a:pt x="90056" y="180201"/>
                  </a:cubicBezTo>
                </a:path>
              </a:pathLst>
            </a:custGeom>
            <a:solidFill>
              <a:srgbClr val="FFFFFF"/>
            </a:solidFill>
            <a:ln w="8925"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9A48810-A754-BB60-394F-F89ACC86D4CA}"/>
                </a:ext>
              </a:extLst>
            </p:cNvPr>
            <p:cNvSpPr/>
            <p:nvPr/>
          </p:nvSpPr>
          <p:spPr>
            <a:xfrm>
              <a:off x="5405447" y="786973"/>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839"/>
                    <a:pt x="40343" y="180201"/>
                    <a:pt x="90056" y="180201"/>
                  </a:cubicBezTo>
                </a:path>
              </a:pathLst>
            </a:custGeom>
            <a:solidFill>
              <a:srgbClr val="FFFFFF"/>
            </a:solidFill>
            <a:ln w="8925"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EE001CF-9FFD-81C1-7F2E-67002CD750B6}"/>
                </a:ext>
              </a:extLst>
            </p:cNvPr>
            <p:cNvSpPr/>
            <p:nvPr/>
          </p:nvSpPr>
          <p:spPr>
            <a:xfrm>
              <a:off x="5405447" y="2255371"/>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839"/>
                    <a:pt x="40343" y="180201"/>
                    <a:pt x="90056" y="180201"/>
                  </a:cubicBezTo>
                </a:path>
              </a:pathLst>
            </a:custGeom>
            <a:solidFill>
              <a:srgbClr val="FFFFFF"/>
            </a:solidFill>
            <a:ln w="8925"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9DB2B16-09E4-D9CA-D412-561D7B44E1D1}"/>
                </a:ext>
              </a:extLst>
            </p:cNvPr>
            <p:cNvSpPr/>
            <p:nvPr/>
          </p:nvSpPr>
          <p:spPr>
            <a:xfrm>
              <a:off x="5761121" y="2255371"/>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839"/>
                    <a:pt x="40343" y="180201"/>
                    <a:pt x="90057" y="180201"/>
                  </a:cubicBezTo>
                </a:path>
              </a:pathLst>
            </a:custGeom>
            <a:solidFill>
              <a:srgbClr val="FFFFFF"/>
            </a:solidFill>
            <a:ln w="8925"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64C8EF0-BEAE-EEA6-3638-EFD85102CE66}"/>
                </a:ext>
              </a:extLst>
            </p:cNvPr>
            <p:cNvSpPr/>
            <p:nvPr/>
          </p:nvSpPr>
          <p:spPr>
            <a:xfrm>
              <a:off x="5761121" y="1894969"/>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928"/>
                    <a:pt x="40343" y="180201"/>
                    <a:pt x="90057" y="180201"/>
                  </a:cubicBezTo>
                </a:path>
              </a:pathLst>
            </a:custGeom>
            <a:solidFill>
              <a:srgbClr val="FFFFFF"/>
            </a:solidFill>
            <a:ln w="8925"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FAE7F640-C6DF-4ECA-F9CC-28501FA4871F}"/>
                </a:ext>
              </a:extLst>
            </p:cNvPr>
            <p:cNvSpPr/>
            <p:nvPr/>
          </p:nvSpPr>
          <p:spPr>
            <a:xfrm>
              <a:off x="5761121" y="2627917"/>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928"/>
                    <a:pt x="40343" y="180201"/>
                    <a:pt x="90057" y="180201"/>
                  </a:cubicBezTo>
                </a:path>
              </a:pathLst>
            </a:custGeom>
            <a:solidFill>
              <a:srgbClr val="FFFFFF"/>
            </a:solidFill>
            <a:ln w="8925"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ACD68CA-0CCD-3986-6D30-A2131CBDF46C}"/>
                </a:ext>
              </a:extLst>
            </p:cNvPr>
            <p:cNvSpPr/>
            <p:nvPr/>
          </p:nvSpPr>
          <p:spPr>
            <a:xfrm>
              <a:off x="5761121" y="4088546"/>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928"/>
                    <a:pt x="40343" y="180201"/>
                    <a:pt x="90057" y="180201"/>
                  </a:cubicBezTo>
                </a:path>
              </a:pathLst>
            </a:custGeom>
            <a:solidFill>
              <a:srgbClr val="FFFFFF"/>
            </a:solidFill>
            <a:ln w="8925"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1A2CB4B6-6677-A64D-63E7-03B73A82ECE5}"/>
                </a:ext>
              </a:extLst>
            </p:cNvPr>
            <p:cNvSpPr/>
            <p:nvPr/>
          </p:nvSpPr>
          <p:spPr>
            <a:xfrm>
              <a:off x="6828145" y="4088546"/>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2" y="0"/>
                    <a:pt x="0" y="40362"/>
                    <a:pt x="0" y="90101"/>
                  </a:cubicBezTo>
                  <a:cubicBezTo>
                    <a:pt x="0" y="139928"/>
                    <a:pt x="40342" y="180201"/>
                    <a:pt x="90056" y="180201"/>
                  </a:cubicBezTo>
                </a:path>
              </a:pathLst>
            </a:custGeom>
            <a:solidFill>
              <a:srgbClr val="FFFFFF"/>
            </a:solidFill>
            <a:ln w="8925"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824DCD34-ECC1-F0D7-5D6A-E29C268BE537}"/>
                </a:ext>
              </a:extLst>
            </p:cNvPr>
            <p:cNvSpPr/>
            <p:nvPr/>
          </p:nvSpPr>
          <p:spPr>
            <a:xfrm>
              <a:off x="7539493" y="3291304"/>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839"/>
                    <a:pt x="40253" y="180201"/>
                    <a:pt x="90057" y="180201"/>
                  </a:cubicBezTo>
                </a:path>
              </a:pathLst>
            </a:custGeom>
            <a:solidFill>
              <a:srgbClr val="FFFFFF"/>
            </a:solidFill>
            <a:ln w="8925"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07876098-EBCB-8E16-72E4-9E8F6D4E4118}"/>
                </a:ext>
              </a:extLst>
            </p:cNvPr>
            <p:cNvSpPr/>
            <p:nvPr/>
          </p:nvSpPr>
          <p:spPr>
            <a:xfrm>
              <a:off x="4338513" y="4821852"/>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2" y="0"/>
                    <a:pt x="0" y="40362"/>
                    <a:pt x="0" y="90101"/>
                  </a:cubicBezTo>
                  <a:cubicBezTo>
                    <a:pt x="0" y="139839"/>
                    <a:pt x="40253" y="180201"/>
                    <a:pt x="90057" y="180201"/>
                  </a:cubicBezTo>
                </a:path>
              </a:pathLst>
            </a:custGeom>
            <a:solidFill>
              <a:srgbClr val="FFFFFF"/>
            </a:solidFill>
            <a:ln w="8925"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80949F5A-DD1D-2EF7-285F-0C44C58CEA32}"/>
                </a:ext>
              </a:extLst>
            </p:cNvPr>
            <p:cNvSpPr/>
            <p:nvPr/>
          </p:nvSpPr>
          <p:spPr>
            <a:xfrm>
              <a:off x="4338513" y="5183147"/>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2" y="0"/>
                    <a:pt x="0" y="40362"/>
                    <a:pt x="0" y="90101"/>
                  </a:cubicBezTo>
                  <a:cubicBezTo>
                    <a:pt x="0" y="139839"/>
                    <a:pt x="40253" y="180201"/>
                    <a:pt x="90057" y="180201"/>
                  </a:cubicBezTo>
                </a:path>
              </a:pathLst>
            </a:custGeom>
            <a:solidFill>
              <a:srgbClr val="FFFFFF"/>
            </a:solidFill>
            <a:ln w="8925"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719BFF03-D109-FF17-C56C-B815AB9CAAC8}"/>
                </a:ext>
              </a:extLst>
            </p:cNvPr>
            <p:cNvSpPr/>
            <p:nvPr/>
          </p:nvSpPr>
          <p:spPr>
            <a:xfrm>
              <a:off x="6828145" y="4453413"/>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2" y="0"/>
                    <a:pt x="0" y="40362"/>
                    <a:pt x="0" y="90101"/>
                  </a:cubicBezTo>
                  <a:cubicBezTo>
                    <a:pt x="0" y="139839"/>
                    <a:pt x="40342" y="180201"/>
                    <a:pt x="90056" y="180201"/>
                  </a:cubicBezTo>
                </a:path>
              </a:pathLst>
            </a:custGeom>
            <a:solidFill>
              <a:srgbClr val="FFFFFF"/>
            </a:solidFill>
            <a:ln w="8925"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DC5E1BFD-6710-4C5F-1411-5CDF3F443D1E}"/>
                </a:ext>
              </a:extLst>
            </p:cNvPr>
            <p:cNvSpPr/>
            <p:nvPr/>
          </p:nvSpPr>
          <p:spPr>
            <a:xfrm>
              <a:off x="6472470" y="5903773"/>
              <a:ext cx="180113" cy="180201"/>
            </a:xfrm>
            <a:custGeom>
              <a:avLst/>
              <a:gdLst>
                <a:gd name="connsiteX0" fmla="*/ 90057 w 180113"/>
                <a:gd name="connsiteY0" fmla="*/ 180201 h 180201"/>
                <a:gd name="connsiteX1" fmla="*/ 180113 w 180113"/>
                <a:gd name="connsiteY1" fmla="*/ 90100 h 180201"/>
                <a:gd name="connsiteX2" fmla="*/ 90057 w 180113"/>
                <a:gd name="connsiteY2" fmla="*/ 0 h 180201"/>
                <a:gd name="connsiteX3" fmla="*/ 0 w 180113"/>
                <a:gd name="connsiteY3" fmla="*/ 90100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0"/>
                  </a:cubicBezTo>
                  <a:cubicBezTo>
                    <a:pt x="180113" y="40362"/>
                    <a:pt x="139771" y="0"/>
                    <a:pt x="90057" y="0"/>
                  </a:cubicBezTo>
                  <a:cubicBezTo>
                    <a:pt x="40343" y="0"/>
                    <a:pt x="0" y="40362"/>
                    <a:pt x="0" y="90100"/>
                  </a:cubicBezTo>
                  <a:cubicBezTo>
                    <a:pt x="0" y="139839"/>
                    <a:pt x="40343" y="180201"/>
                    <a:pt x="90057" y="180201"/>
                  </a:cubicBezTo>
                </a:path>
              </a:pathLst>
            </a:custGeom>
            <a:solidFill>
              <a:srgbClr val="FFFFFF"/>
            </a:solidFill>
            <a:ln w="8925"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61663C6-E7AA-643E-F135-F7DB591F6F9F}"/>
                </a:ext>
              </a:extLst>
            </p:cNvPr>
            <p:cNvSpPr/>
            <p:nvPr/>
          </p:nvSpPr>
          <p:spPr>
            <a:xfrm>
              <a:off x="6472470" y="6282124"/>
              <a:ext cx="180113" cy="180201"/>
            </a:xfrm>
            <a:custGeom>
              <a:avLst/>
              <a:gdLst>
                <a:gd name="connsiteX0" fmla="*/ 90057 w 180113"/>
                <a:gd name="connsiteY0" fmla="*/ 180201 h 180201"/>
                <a:gd name="connsiteX1" fmla="*/ 180113 w 180113"/>
                <a:gd name="connsiteY1" fmla="*/ 90100 h 180201"/>
                <a:gd name="connsiteX2" fmla="*/ 90057 w 180113"/>
                <a:gd name="connsiteY2" fmla="*/ 0 h 180201"/>
                <a:gd name="connsiteX3" fmla="*/ 0 w 180113"/>
                <a:gd name="connsiteY3" fmla="*/ 90100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0"/>
                  </a:cubicBezTo>
                  <a:cubicBezTo>
                    <a:pt x="180113" y="40362"/>
                    <a:pt x="139771" y="0"/>
                    <a:pt x="90057" y="0"/>
                  </a:cubicBezTo>
                  <a:cubicBezTo>
                    <a:pt x="40343" y="0"/>
                    <a:pt x="0" y="40362"/>
                    <a:pt x="0" y="90100"/>
                  </a:cubicBezTo>
                  <a:cubicBezTo>
                    <a:pt x="0" y="139928"/>
                    <a:pt x="40343" y="180201"/>
                    <a:pt x="90057" y="180201"/>
                  </a:cubicBezTo>
                </a:path>
              </a:pathLst>
            </a:custGeom>
            <a:solidFill>
              <a:srgbClr val="FFFFFF"/>
            </a:solidFill>
            <a:ln w="8925"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3ADB5E5F-0B4D-1C4E-9A4A-8AE4310BC757}"/>
                </a:ext>
              </a:extLst>
            </p:cNvPr>
            <p:cNvSpPr/>
            <p:nvPr/>
          </p:nvSpPr>
          <p:spPr>
            <a:xfrm>
              <a:off x="7183819" y="4453413"/>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839"/>
                    <a:pt x="40253" y="180201"/>
                    <a:pt x="90056" y="180201"/>
                  </a:cubicBezTo>
                </a:path>
              </a:pathLst>
            </a:custGeom>
            <a:solidFill>
              <a:srgbClr val="FFFFFF"/>
            </a:solidFill>
            <a:ln w="8925"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FCE42CE8-2C56-6D65-4C6E-808C01DE8557}"/>
                </a:ext>
              </a:extLst>
            </p:cNvPr>
            <p:cNvSpPr/>
            <p:nvPr/>
          </p:nvSpPr>
          <p:spPr>
            <a:xfrm>
              <a:off x="5049773" y="4088546"/>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2" y="0"/>
                    <a:pt x="0" y="40362"/>
                    <a:pt x="0" y="90101"/>
                  </a:cubicBezTo>
                  <a:cubicBezTo>
                    <a:pt x="89" y="139928"/>
                    <a:pt x="40342" y="180201"/>
                    <a:pt x="90056" y="180201"/>
                  </a:cubicBezTo>
                </a:path>
              </a:pathLst>
            </a:custGeom>
            <a:solidFill>
              <a:srgbClr val="FFFFFF"/>
            </a:solidFill>
            <a:ln w="8925"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ECEF3F9-E201-ED82-5EE4-9C586FC397F7}"/>
                </a:ext>
              </a:extLst>
            </p:cNvPr>
            <p:cNvSpPr/>
            <p:nvPr/>
          </p:nvSpPr>
          <p:spPr>
            <a:xfrm>
              <a:off x="4694187" y="4088546"/>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0" y="180201"/>
                    <a:pt x="180113" y="139839"/>
                    <a:pt x="180113" y="90101"/>
                  </a:cubicBezTo>
                  <a:cubicBezTo>
                    <a:pt x="180113" y="40362"/>
                    <a:pt x="139770" y="0"/>
                    <a:pt x="90057" y="0"/>
                  </a:cubicBezTo>
                  <a:cubicBezTo>
                    <a:pt x="40343" y="0"/>
                    <a:pt x="0" y="40362"/>
                    <a:pt x="0" y="90101"/>
                  </a:cubicBezTo>
                  <a:cubicBezTo>
                    <a:pt x="0" y="139928"/>
                    <a:pt x="40253" y="180201"/>
                    <a:pt x="90057" y="180201"/>
                  </a:cubicBezTo>
                </a:path>
              </a:pathLst>
            </a:custGeom>
            <a:solidFill>
              <a:srgbClr val="FFFFFF"/>
            </a:solidFill>
            <a:ln w="8925"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4FC331F8-1856-1489-5EBF-61E86CBF999F}"/>
                </a:ext>
              </a:extLst>
            </p:cNvPr>
            <p:cNvSpPr/>
            <p:nvPr/>
          </p:nvSpPr>
          <p:spPr>
            <a:xfrm>
              <a:off x="3627164" y="4088546"/>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0" y="180201"/>
                    <a:pt x="180113" y="139839"/>
                    <a:pt x="180113" y="90101"/>
                  </a:cubicBezTo>
                  <a:cubicBezTo>
                    <a:pt x="180113" y="40362"/>
                    <a:pt x="139770" y="0"/>
                    <a:pt x="90057" y="0"/>
                  </a:cubicBezTo>
                  <a:cubicBezTo>
                    <a:pt x="40342" y="0"/>
                    <a:pt x="0" y="40362"/>
                    <a:pt x="0" y="90101"/>
                  </a:cubicBezTo>
                  <a:cubicBezTo>
                    <a:pt x="0" y="139928"/>
                    <a:pt x="40342" y="180201"/>
                    <a:pt x="90057" y="180201"/>
                  </a:cubicBezTo>
                </a:path>
              </a:pathLst>
            </a:custGeom>
            <a:solidFill>
              <a:srgbClr val="FFFFFF"/>
            </a:solidFill>
            <a:ln w="8925"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24F144B-A8C9-957F-42D1-5C7F03594357}"/>
                </a:ext>
              </a:extLst>
            </p:cNvPr>
            <p:cNvSpPr/>
            <p:nvPr/>
          </p:nvSpPr>
          <p:spPr>
            <a:xfrm>
              <a:off x="3982838" y="4088546"/>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928"/>
                    <a:pt x="40343" y="180201"/>
                    <a:pt x="90057" y="180201"/>
                  </a:cubicBezTo>
                </a:path>
              </a:pathLst>
            </a:custGeom>
            <a:solidFill>
              <a:srgbClr val="D2D4D5"/>
            </a:solidFill>
            <a:ln w="8925"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C7D9CFF-5F9A-B8E8-DFE8-B02805F21ADC}"/>
                </a:ext>
              </a:extLst>
            </p:cNvPr>
            <p:cNvSpPr/>
            <p:nvPr/>
          </p:nvSpPr>
          <p:spPr>
            <a:xfrm>
              <a:off x="3982838" y="3701533"/>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839"/>
                    <a:pt x="40343" y="180201"/>
                    <a:pt x="90057" y="180201"/>
                  </a:cubicBezTo>
                </a:path>
              </a:pathLst>
            </a:custGeom>
            <a:solidFill>
              <a:srgbClr val="D2D4D5"/>
            </a:solidFill>
            <a:ln w="8925"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55787E0B-4B27-2DDE-D56F-44B4911970ED}"/>
                </a:ext>
              </a:extLst>
            </p:cNvPr>
            <p:cNvSpPr/>
            <p:nvPr/>
          </p:nvSpPr>
          <p:spPr>
            <a:xfrm>
              <a:off x="3627164" y="1186576"/>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0" y="180201"/>
                    <a:pt x="180113" y="139839"/>
                    <a:pt x="180113" y="90101"/>
                  </a:cubicBezTo>
                  <a:cubicBezTo>
                    <a:pt x="180113" y="40362"/>
                    <a:pt x="139770" y="0"/>
                    <a:pt x="90057" y="0"/>
                  </a:cubicBezTo>
                  <a:cubicBezTo>
                    <a:pt x="40342" y="0"/>
                    <a:pt x="0" y="40362"/>
                    <a:pt x="0" y="90101"/>
                  </a:cubicBezTo>
                  <a:cubicBezTo>
                    <a:pt x="0" y="139839"/>
                    <a:pt x="40342" y="180201"/>
                    <a:pt x="90057" y="180201"/>
                  </a:cubicBezTo>
                </a:path>
              </a:pathLst>
            </a:custGeom>
            <a:solidFill>
              <a:srgbClr val="D2D4D5"/>
            </a:solidFill>
            <a:ln w="8925"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963AB14F-473B-DBE7-371F-85CDAF84173B}"/>
                </a:ext>
              </a:extLst>
            </p:cNvPr>
            <p:cNvSpPr/>
            <p:nvPr/>
          </p:nvSpPr>
          <p:spPr>
            <a:xfrm>
              <a:off x="3627164" y="786973"/>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0" y="180201"/>
                    <a:pt x="180113" y="139839"/>
                    <a:pt x="180113" y="90101"/>
                  </a:cubicBezTo>
                  <a:cubicBezTo>
                    <a:pt x="180113" y="40362"/>
                    <a:pt x="139770" y="0"/>
                    <a:pt x="90057" y="0"/>
                  </a:cubicBezTo>
                  <a:cubicBezTo>
                    <a:pt x="40342" y="0"/>
                    <a:pt x="0" y="40362"/>
                    <a:pt x="0" y="90101"/>
                  </a:cubicBezTo>
                  <a:cubicBezTo>
                    <a:pt x="0" y="139839"/>
                    <a:pt x="40342" y="180201"/>
                    <a:pt x="90057" y="180201"/>
                  </a:cubicBezTo>
                </a:path>
              </a:pathLst>
            </a:custGeom>
            <a:solidFill>
              <a:srgbClr val="D2D4D5"/>
            </a:solidFill>
            <a:ln w="8925"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A7AB4D39-853E-82D5-F4D8-2E20931ABBE8}"/>
                </a:ext>
              </a:extLst>
            </p:cNvPr>
            <p:cNvSpPr/>
            <p:nvPr/>
          </p:nvSpPr>
          <p:spPr>
            <a:xfrm>
              <a:off x="4338513" y="4088546"/>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2" y="0"/>
                    <a:pt x="0" y="40362"/>
                    <a:pt x="0" y="90101"/>
                  </a:cubicBezTo>
                  <a:cubicBezTo>
                    <a:pt x="0" y="139928"/>
                    <a:pt x="40253" y="180201"/>
                    <a:pt x="90057" y="180201"/>
                  </a:cubicBezTo>
                </a:path>
              </a:pathLst>
            </a:custGeom>
            <a:solidFill>
              <a:srgbClr val="D2D4D5"/>
            </a:solidFill>
            <a:ln w="8925"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27118E5C-0400-89B1-21D3-F2735918DA42}"/>
                </a:ext>
              </a:extLst>
            </p:cNvPr>
            <p:cNvSpPr/>
            <p:nvPr/>
          </p:nvSpPr>
          <p:spPr>
            <a:xfrm>
              <a:off x="5405447" y="4088546"/>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928"/>
                    <a:pt x="40343" y="180201"/>
                    <a:pt x="90056" y="180201"/>
                  </a:cubicBezTo>
                </a:path>
              </a:pathLst>
            </a:custGeom>
            <a:solidFill>
              <a:srgbClr val="D2D4D5"/>
            </a:solidFill>
            <a:ln w="8925"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E17917-3F18-CF01-2254-FB2FF3511951}"/>
                </a:ext>
              </a:extLst>
            </p:cNvPr>
            <p:cNvSpPr/>
            <p:nvPr/>
          </p:nvSpPr>
          <p:spPr>
            <a:xfrm>
              <a:off x="5405447" y="2627917"/>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928"/>
                    <a:pt x="40343" y="180201"/>
                    <a:pt x="90056" y="180201"/>
                  </a:cubicBezTo>
                </a:path>
              </a:pathLst>
            </a:custGeom>
            <a:solidFill>
              <a:srgbClr val="D2D4D5"/>
            </a:solidFill>
            <a:ln w="8925"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92C53243-6C12-76FC-D26E-1326E8C86796}"/>
                </a:ext>
              </a:extLst>
            </p:cNvPr>
            <p:cNvSpPr/>
            <p:nvPr/>
          </p:nvSpPr>
          <p:spPr>
            <a:xfrm>
              <a:off x="5405447" y="1894969"/>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928"/>
                    <a:pt x="40343" y="180201"/>
                    <a:pt x="90056" y="180201"/>
                  </a:cubicBezTo>
                </a:path>
              </a:pathLst>
            </a:custGeom>
            <a:solidFill>
              <a:srgbClr val="D2D4D5"/>
            </a:solidFill>
            <a:ln w="8925"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38CABC40-E5E3-7D61-9129-E4670F1152B1}"/>
                </a:ext>
              </a:extLst>
            </p:cNvPr>
            <p:cNvSpPr/>
            <p:nvPr/>
          </p:nvSpPr>
          <p:spPr>
            <a:xfrm>
              <a:off x="5405447" y="1507599"/>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928"/>
                    <a:pt x="40343" y="180201"/>
                    <a:pt x="90056" y="180201"/>
                  </a:cubicBezTo>
                </a:path>
              </a:pathLst>
            </a:custGeom>
            <a:solidFill>
              <a:srgbClr val="D2D4D5"/>
            </a:solidFill>
            <a:ln w="8925"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108EBC01-DE94-7581-D107-A02F4B39FC9E}"/>
                </a:ext>
              </a:extLst>
            </p:cNvPr>
            <p:cNvSpPr/>
            <p:nvPr/>
          </p:nvSpPr>
          <p:spPr>
            <a:xfrm>
              <a:off x="5405447" y="1186576"/>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839"/>
                    <a:pt x="40343" y="180201"/>
                    <a:pt x="90056" y="180201"/>
                  </a:cubicBezTo>
                </a:path>
              </a:pathLst>
            </a:custGeom>
            <a:solidFill>
              <a:srgbClr val="D2D4D5"/>
            </a:solidFill>
            <a:ln w="8925"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B96A0112-2400-63F5-2E19-6B65A40492F0}"/>
                </a:ext>
              </a:extLst>
            </p:cNvPr>
            <p:cNvSpPr/>
            <p:nvPr/>
          </p:nvSpPr>
          <p:spPr>
            <a:xfrm>
              <a:off x="773201" y="5183147"/>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113" y="40362"/>
                    <a:pt x="139771" y="0"/>
                    <a:pt x="90057" y="0"/>
                  </a:cubicBezTo>
                </a:path>
              </a:pathLst>
            </a:custGeom>
            <a:solidFill>
              <a:srgbClr val="FFFFFF"/>
            </a:solidFill>
            <a:ln w="8925"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714D029F-F993-724E-ECFF-246202FE8391}"/>
                </a:ext>
              </a:extLst>
            </p:cNvPr>
            <p:cNvSpPr/>
            <p:nvPr/>
          </p:nvSpPr>
          <p:spPr>
            <a:xfrm>
              <a:off x="773201" y="4783544"/>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113" y="40273"/>
                    <a:pt x="139771" y="0"/>
                    <a:pt x="90057" y="0"/>
                  </a:cubicBezTo>
                </a:path>
              </a:pathLst>
            </a:custGeom>
            <a:solidFill>
              <a:srgbClr val="FFFFFF"/>
            </a:solidFill>
            <a:ln w="8925" cap="flat">
              <a:noFill/>
              <a:prstDash val="solid"/>
              <a:miter/>
            </a:ln>
          </p:spPr>
          <p:txBody>
            <a:bodyPr rtlCol="0" anchor="ctr"/>
            <a:lstStyle/>
            <a:p>
              <a:endParaRPr lang="en-US"/>
            </a:p>
          </p:txBody>
        </p:sp>
        <p:sp>
          <p:nvSpPr>
            <p:cNvPr id="44" name="Freeform 43">
              <a:extLst>
                <a:ext uri="{FF2B5EF4-FFF2-40B4-BE49-F238E27FC236}">
                  <a16:creationId xmlns:a16="http://schemas.microsoft.com/office/drawing/2014/main" id="{76053E68-2382-F6EF-F1C7-B4BAF6385D82}"/>
                </a:ext>
              </a:extLst>
            </p:cNvPr>
            <p:cNvSpPr/>
            <p:nvPr/>
          </p:nvSpPr>
          <p:spPr>
            <a:xfrm>
              <a:off x="773201" y="3315146"/>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113" y="40273"/>
                    <a:pt x="139771" y="0"/>
                    <a:pt x="90057" y="0"/>
                  </a:cubicBezTo>
                </a:path>
              </a:pathLst>
            </a:custGeom>
            <a:solidFill>
              <a:srgbClr val="FFFFFF"/>
            </a:solidFill>
            <a:ln w="8925"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1FD4B44E-5AA3-540A-352F-D3289BBAF420}"/>
                </a:ext>
              </a:extLst>
            </p:cNvPr>
            <p:cNvSpPr/>
            <p:nvPr/>
          </p:nvSpPr>
          <p:spPr>
            <a:xfrm>
              <a:off x="417526" y="3315146"/>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2" y="0"/>
                    <a:pt x="0" y="40362"/>
                    <a:pt x="0" y="90101"/>
                  </a:cubicBezTo>
                  <a:cubicBezTo>
                    <a:pt x="0" y="139839"/>
                    <a:pt x="40342" y="180201"/>
                    <a:pt x="90057" y="180201"/>
                  </a:cubicBezTo>
                  <a:cubicBezTo>
                    <a:pt x="139771" y="180201"/>
                    <a:pt x="180113" y="139839"/>
                    <a:pt x="180113" y="90101"/>
                  </a:cubicBezTo>
                  <a:cubicBezTo>
                    <a:pt x="180113" y="40273"/>
                    <a:pt x="139860" y="0"/>
                    <a:pt x="90057" y="0"/>
                  </a:cubicBezTo>
                </a:path>
              </a:pathLst>
            </a:custGeom>
            <a:solidFill>
              <a:srgbClr val="FFFFFF"/>
            </a:solidFill>
            <a:ln w="8925" cap="flat">
              <a:noFill/>
              <a:prstDash val="solid"/>
              <a:miter/>
            </a:ln>
          </p:spPr>
          <p:txBody>
            <a:bodyPr rtlCol="0" anchor="ctr"/>
            <a:lstStyle/>
            <a:p>
              <a:endParaRPr lang="en-US"/>
            </a:p>
          </p:txBody>
        </p:sp>
        <p:sp>
          <p:nvSpPr>
            <p:cNvPr id="46" name="Freeform 45">
              <a:extLst>
                <a:ext uri="{FF2B5EF4-FFF2-40B4-BE49-F238E27FC236}">
                  <a16:creationId xmlns:a16="http://schemas.microsoft.com/office/drawing/2014/main" id="{093F22E3-2B5D-DDD5-6A28-26A119DF55DD}"/>
                </a:ext>
              </a:extLst>
            </p:cNvPr>
            <p:cNvSpPr/>
            <p:nvPr/>
          </p:nvSpPr>
          <p:spPr>
            <a:xfrm>
              <a:off x="417526" y="3675459"/>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2" y="0"/>
                    <a:pt x="0" y="40362"/>
                    <a:pt x="0" y="90101"/>
                  </a:cubicBezTo>
                  <a:cubicBezTo>
                    <a:pt x="0" y="139839"/>
                    <a:pt x="40342" y="180201"/>
                    <a:pt x="90057" y="180201"/>
                  </a:cubicBezTo>
                  <a:cubicBezTo>
                    <a:pt x="139771" y="180201"/>
                    <a:pt x="180113" y="139839"/>
                    <a:pt x="180113" y="90101"/>
                  </a:cubicBezTo>
                  <a:cubicBezTo>
                    <a:pt x="180113" y="40362"/>
                    <a:pt x="139860" y="0"/>
                    <a:pt x="90057" y="0"/>
                  </a:cubicBezTo>
                </a:path>
              </a:pathLst>
            </a:custGeom>
            <a:solidFill>
              <a:srgbClr val="FFFFFF"/>
            </a:solidFill>
            <a:ln w="8925"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97E4A854-E7FD-A195-8D97-E5460BD3CA99}"/>
                </a:ext>
              </a:extLst>
            </p:cNvPr>
            <p:cNvSpPr/>
            <p:nvPr/>
          </p:nvSpPr>
          <p:spPr>
            <a:xfrm>
              <a:off x="417526" y="2942510"/>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2" y="0"/>
                    <a:pt x="0" y="40362"/>
                    <a:pt x="0" y="90101"/>
                  </a:cubicBezTo>
                  <a:cubicBezTo>
                    <a:pt x="0" y="139839"/>
                    <a:pt x="40342" y="180201"/>
                    <a:pt x="90057" y="180201"/>
                  </a:cubicBezTo>
                  <a:cubicBezTo>
                    <a:pt x="139771" y="180201"/>
                    <a:pt x="180113" y="139839"/>
                    <a:pt x="180113" y="90101"/>
                  </a:cubicBezTo>
                  <a:cubicBezTo>
                    <a:pt x="180113" y="40362"/>
                    <a:pt x="139860" y="0"/>
                    <a:pt x="90057" y="0"/>
                  </a:cubicBezTo>
                </a:path>
              </a:pathLst>
            </a:custGeom>
            <a:solidFill>
              <a:srgbClr val="FFFFFF"/>
            </a:solidFill>
            <a:ln w="8925"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52866FD6-F652-AB58-ABA3-8C1EDFFB1D6D}"/>
                </a:ext>
              </a:extLst>
            </p:cNvPr>
            <p:cNvSpPr/>
            <p:nvPr/>
          </p:nvSpPr>
          <p:spPr>
            <a:xfrm>
              <a:off x="773201" y="2942510"/>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113" y="40362"/>
                    <a:pt x="139771" y="0"/>
                    <a:pt x="90057" y="0"/>
                  </a:cubicBezTo>
                </a:path>
              </a:pathLst>
            </a:custGeom>
            <a:solidFill>
              <a:srgbClr val="D2D4D5"/>
            </a:solidFill>
            <a:ln w="8925"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41A88025-5747-CC7C-DDBE-340C4298564F}"/>
                </a:ext>
              </a:extLst>
            </p:cNvPr>
            <p:cNvSpPr/>
            <p:nvPr/>
          </p:nvSpPr>
          <p:spPr>
            <a:xfrm>
              <a:off x="773201" y="3675459"/>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113" y="40362"/>
                    <a:pt x="139771" y="0"/>
                    <a:pt x="90057" y="0"/>
                  </a:cubicBezTo>
                </a:path>
              </a:pathLst>
            </a:custGeom>
            <a:solidFill>
              <a:srgbClr val="D2D4D5"/>
            </a:solidFill>
            <a:ln w="8925"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E481CBF7-D355-0B88-27C8-6F801D9EBFC7}"/>
                </a:ext>
              </a:extLst>
            </p:cNvPr>
            <p:cNvSpPr/>
            <p:nvPr/>
          </p:nvSpPr>
          <p:spPr>
            <a:xfrm>
              <a:off x="773201" y="4062829"/>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113" y="40362"/>
                    <a:pt x="139771" y="0"/>
                    <a:pt x="90057" y="0"/>
                  </a:cubicBezTo>
                </a:path>
              </a:pathLst>
            </a:custGeom>
            <a:solidFill>
              <a:srgbClr val="D2D4D5"/>
            </a:solidFill>
            <a:ln w="8925"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94B7063A-4105-2DEE-00FA-7A2935F2B9C1}"/>
                </a:ext>
              </a:extLst>
            </p:cNvPr>
            <p:cNvSpPr/>
            <p:nvPr/>
          </p:nvSpPr>
          <p:spPr>
            <a:xfrm>
              <a:off x="773201" y="4383851"/>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113" y="40362"/>
                    <a:pt x="139771" y="0"/>
                    <a:pt x="90057" y="0"/>
                  </a:cubicBezTo>
                </a:path>
              </a:pathLst>
            </a:custGeom>
            <a:solidFill>
              <a:srgbClr val="D2D4D5"/>
            </a:solidFill>
            <a:ln w="8925"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62E92CFC-ED66-1C32-253A-16338CDB913D}"/>
                </a:ext>
              </a:extLst>
            </p:cNvPr>
            <p:cNvSpPr/>
            <p:nvPr/>
          </p:nvSpPr>
          <p:spPr>
            <a:xfrm>
              <a:off x="6116796" y="4088546"/>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2" y="0"/>
                    <a:pt x="0" y="40362"/>
                    <a:pt x="0" y="90101"/>
                  </a:cubicBezTo>
                  <a:cubicBezTo>
                    <a:pt x="0" y="139928"/>
                    <a:pt x="40342" y="180201"/>
                    <a:pt x="90056" y="180201"/>
                  </a:cubicBezTo>
                </a:path>
              </a:pathLst>
            </a:custGeom>
            <a:solidFill>
              <a:srgbClr val="D2D4D5"/>
            </a:solidFill>
            <a:ln w="8925"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6D15FDDE-BF44-C55E-8818-27696DF861FD}"/>
                </a:ext>
              </a:extLst>
            </p:cNvPr>
            <p:cNvSpPr/>
            <p:nvPr/>
          </p:nvSpPr>
          <p:spPr>
            <a:xfrm>
              <a:off x="6472470" y="4088546"/>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928"/>
                    <a:pt x="40343" y="180201"/>
                    <a:pt x="90057" y="180201"/>
                  </a:cubicBezTo>
                </a:path>
              </a:pathLst>
            </a:custGeom>
            <a:solidFill>
              <a:srgbClr val="D2D4D5"/>
            </a:solidFill>
            <a:ln w="8925"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C109CA2C-4B39-FDD1-DEC7-F9E28B52753A}"/>
                </a:ext>
              </a:extLst>
            </p:cNvPr>
            <p:cNvSpPr/>
            <p:nvPr/>
          </p:nvSpPr>
          <p:spPr>
            <a:xfrm>
              <a:off x="6472470" y="4453413"/>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839"/>
                    <a:pt x="40343" y="180201"/>
                    <a:pt x="90057" y="180201"/>
                  </a:cubicBezTo>
                </a:path>
              </a:pathLst>
            </a:custGeom>
            <a:solidFill>
              <a:srgbClr val="D2D4D5"/>
            </a:solidFill>
            <a:ln w="8925"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A4622A34-3A40-9246-3B5C-7EB00504F6C6}"/>
                </a:ext>
              </a:extLst>
            </p:cNvPr>
            <p:cNvSpPr/>
            <p:nvPr/>
          </p:nvSpPr>
          <p:spPr>
            <a:xfrm>
              <a:off x="7183819" y="5903773"/>
              <a:ext cx="180113" cy="180201"/>
            </a:xfrm>
            <a:custGeom>
              <a:avLst/>
              <a:gdLst>
                <a:gd name="connsiteX0" fmla="*/ 90056 w 180113"/>
                <a:gd name="connsiteY0" fmla="*/ 180201 h 180201"/>
                <a:gd name="connsiteX1" fmla="*/ 180113 w 180113"/>
                <a:gd name="connsiteY1" fmla="*/ 90100 h 180201"/>
                <a:gd name="connsiteX2" fmla="*/ 90056 w 180113"/>
                <a:gd name="connsiteY2" fmla="*/ 0 h 180201"/>
                <a:gd name="connsiteX3" fmla="*/ 0 w 180113"/>
                <a:gd name="connsiteY3" fmla="*/ 90100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0"/>
                  </a:cubicBezTo>
                  <a:cubicBezTo>
                    <a:pt x="180113" y="40362"/>
                    <a:pt x="139770" y="0"/>
                    <a:pt x="90056" y="0"/>
                  </a:cubicBezTo>
                  <a:cubicBezTo>
                    <a:pt x="40343" y="0"/>
                    <a:pt x="0" y="40362"/>
                    <a:pt x="0" y="90100"/>
                  </a:cubicBezTo>
                  <a:cubicBezTo>
                    <a:pt x="0" y="139839"/>
                    <a:pt x="40253" y="180201"/>
                    <a:pt x="90056" y="180201"/>
                  </a:cubicBezTo>
                </a:path>
              </a:pathLst>
            </a:custGeom>
            <a:solidFill>
              <a:srgbClr val="D2D4D5"/>
            </a:solidFill>
            <a:ln w="8925"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C8656230-F658-A6EF-FDC2-4B0844867218}"/>
                </a:ext>
              </a:extLst>
            </p:cNvPr>
            <p:cNvSpPr/>
            <p:nvPr/>
          </p:nvSpPr>
          <p:spPr>
            <a:xfrm>
              <a:off x="7183819" y="6282124"/>
              <a:ext cx="180113" cy="180201"/>
            </a:xfrm>
            <a:custGeom>
              <a:avLst/>
              <a:gdLst>
                <a:gd name="connsiteX0" fmla="*/ 90056 w 180113"/>
                <a:gd name="connsiteY0" fmla="*/ 180201 h 180201"/>
                <a:gd name="connsiteX1" fmla="*/ 180113 w 180113"/>
                <a:gd name="connsiteY1" fmla="*/ 90100 h 180201"/>
                <a:gd name="connsiteX2" fmla="*/ 90056 w 180113"/>
                <a:gd name="connsiteY2" fmla="*/ 0 h 180201"/>
                <a:gd name="connsiteX3" fmla="*/ 0 w 180113"/>
                <a:gd name="connsiteY3" fmla="*/ 90100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0"/>
                  </a:cubicBezTo>
                  <a:cubicBezTo>
                    <a:pt x="180113" y="40362"/>
                    <a:pt x="139770" y="0"/>
                    <a:pt x="90056" y="0"/>
                  </a:cubicBezTo>
                  <a:cubicBezTo>
                    <a:pt x="40343" y="0"/>
                    <a:pt x="0" y="40362"/>
                    <a:pt x="0" y="90100"/>
                  </a:cubicBezTo>
                  <a:cubicBezTo>
                    <a:pt x="0" y="139928"/>
                    <a:pt x="40253" y="180201"/>
                    <a:pt x="90056" y="180201"/>
                  </a:cubicBezTo>
                </a:path>
              </a:pathLst>
            </a:custGeom>
            <a:solidFill>
              <a:srgbClr val="D2D4D5"/>
            </a:solidFill>
            <a:ln w="8925"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CB060D06-BD2C-E04C-F090-383F9F66EC7D}"/>
                </a:ext>
              </a:extLst>
            </p:cNvPr>
            <p:cNvSpPr/>
            <p:nvPr/>
          </p:nvSpPr>
          <p:spPr>
            <a:xfrm>
              <a:off x="6828145" y="6282124"/>
              <a:ext cx="180113" cy="180201"/>
            </a:xfrm>
            <a:custGeom>
              <a:avLst/>
              <a:gdLst>
                <a:gd name="connsiteX0" fmla="*/ 90056 w 180113"/>
                <a:gd name="connsiteY0" fmla="*/ 180201 h 180201"/>
                <a:gd name="connsiteX1" fmla="*/ 180113 w 180113"/>
                <a:gd name="connsiteY1" fmla="*/ 90100 h 180201"/>
                <a:gd name="connsiteX2" fmla="*/ 90056 w 180113"/>
                <a:gd name="connsiteY2" fmla="*/ 0 h 180201"/>
                <a:gd name="connsiteX3" fmla="*/ 0 w 180113"/>
                <a:gd name="connsiteY3" fmla="*/ 90100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0"/>
                  </a:cubicBezTo>
                  <a:cubicBezTo>
                    <a:pt x="180113" y="40362"/>
                    <a:pt x="139770" y="0"/>
                    <a:pt x="90056" y="0"/>
                  </a:cubicBezTo>
                  <a:cubicBezTo>
                    <a:pt x="40342" y="0"/>
                    <a:pt x="0" y="40362"/>
                    <a:pt x="0" y="90100"/>
                  </a:cubicBezTo>
                  <a:cubicBezTo>
                    <a:pt x="0" y="139928"/>
                    <a:pt x="40342" y="180201"/>
                    <a:pt x="90056" y="180201"/>
                  </a:cubicBezTo>
                </a:path>
              </a:pathLst>
            </a:custGeom>
            <a:solidFill>
              <a:srgbClr val="D2D4D5"/>
            </a:solidFill>
            <a:ln w="8925"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748BA15A-88C8-B742-0695-BDCBBF5AD836}"/>
                </a:ext>
              </a:extLst>
            </p:cNvPr>
            <p:cNvSpPr/>
            <p:nvPr/>
          </p:nvSpPr>
          <p:spPr>
            <a:xfrm>
              <a:off x="4338513" y="4417337"/>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2" y="0"/>
                    <a:pt x="0" y="40362"/>
                    <a:pt x="0" y="90101"/>
                  </a:cubicBezTo>
                  <a:cubicBezTo>
                    <a:pt x="0" y="139928"/>
                    <a:pt x="40253" y="180201"/>
                    <a:pt x="90057" y="180201"/>
                  </a:cubicBezTo>
                </a:path>
              </a:pathLst>
            </a:custGeom>
            <a:solidFill>
              <a:srgbClr val="D2D4D5"/>
            </a:solidFill>
            <a:ln w="8925" cap="flat">
              <a:noFill/>
              <a:prstDash val="solid"/>
              <a:miter/>
            </a:ln>
          </p:spPr>
          <p:txBody>
            <a:bodyPr rtlCol="0" anchor="ctr"/>
            <a:lstStyle/>
            <a:p>
              <a:endParaRPr lang="en-US"/>
            </a:p>
          </p:txBody>
        </p:sp>
        <p:sp>
          <p:nvSpPr>
            <p:cNvPr id="59" name="Freeform 58">
              <a:extLst>
                <a:ext uri="{FF2B5EF4-FFF2-40B4-BE49-F238E27FC236}">
                  <a16:creationId xmlns:a16="http://schemas.microsoft.com/office/drawing/2014/main" id="{29BF82DE-166E-CAA1-37D1-7250A4AFB146}"/>
                </a:ext>
              </a:extLst>
            </p:cNvPr>
            <p:cNvSpPr/>
            <p:nvPr/>
          </p:nvSpPr>
          <p:spPr>
            <a:xfrm>
              <a:off x="4338513" y="3701533"/>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2" y="0"/>
                    <a:pt x="0" y="40362"/>
                    <a:pt x="0" y="90101"/>
                  </a:cubicBezTo>
                  <a:cubicBezTo>
                    <a:pt x="0" y="139839"/>
                    <a:pt x="40253" y="180201"/>
                    <a:pt x="90057" y="180201"/>
                  </a:cubicBezTo>
                </a:path>
              </a:pathLst>
            </a:custGeom>
            <a:solidFill>
              <a:srgbClr val="D2D4D5"/>
            </a:solidFill>
            <a:ln w="8925" cap="flat">
              <a:noFill/>
              <a:prstDash val="solid"/>
              <a:miter/>
            </a:ln>
          </p:spPr>
          <p:txBody>
            <a:bodyPr rtlCol="0" anchor="ctr"/>
            <a:lstStyle/>
            <a:p>
              <a:endParaRPr lang="en-US"/>
            </a:p>
          </p:txBody>
        </p:sp>
        <p:sp>
          <p:nvSpPr>
            <p:cNvPr id="60" name="Freeform 59">
              <a:extLst>
                <a:ext uri="{FF2B5EF4-FFF2-40B4-BE49-F238E27FC236}">
                  <a16:creationId xmlns:a16="http://schemas.microsoft.com/office/drawing/2014/main" id="{2A02D2F6-0BE6-1891-319C-49A40E9E9150}"/>
                </a:ext>
              </a:extLst>
            </p:cNvPr>
            <p:cNvSpPr/>
            <p:nvPr/>
          </p:nvSpPr>
          <p:spPr>
            <a:xfrm>
              <a:off x="9443712" y="2580947"/>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4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4" y="139839"/>
                    <a:pt x="180114" y="90101"/>
                  </a:cubicBezTo>
                  <a:cubicBezTo>
                    <a:pt x="180114" y="40273"/>
                    <a:pt x="139771" y="0"/>
                    <a:pt x="90057" y="0"/>
                  </a:cubicBezTo>
                </a:path>
              </a:pathLst>
            </a:custGeom>
            <a:solidFill>
              <a:srgbClr val="FFFFFF"/>
            </a:solidFill>
            <a:ln w="8925" cap="flat">
              <a:noFill/>
              <a:prstDash val="solid"/>
              <a:miter/>
            </a:ln>
          </p:spPr>
          <p:txBody>
            <a:bodyPr rtlCol="0" anchor="ctr"/>
            <a:lstStyle/>
            <a:p>
              <a:endParaRPr lang="en-US"/>
            </a:p>
          </p:txBody>
        </p:sp>
        <p:sp>
          <p:nvSpPr>
            <p:cNvPr id="61" name="Freeform 60">
              <a:extLst>
                <a:ext uri="{FF2B5EF4-FFF2-40B4-BE49-F238E27FC236}">
                  <a16:creationId xmlns:a16="http://schemas.microsoft.com/office/drawing/2014/main" id="{A74EDA4D-94E0-C119-CBD7-12C7EB304BA0}"/>
                </a:ext>
              </a:extLst>
            </p:cNvPr>
            <p:cNvSpPr/>
            <p:nvPr/>
          </p:nvSpPr>
          <p:spPr>
            <a:xfrm>
              <a:off x="8376778" y="2580947"/>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024" y="40273"/>
                    <a:pt x="139771" y="0"/>
                    <a:pt x="90057" y="0"/>
                  </a:cubicBezTo>
                </a:path>
              </a:pathLst>
            </a:custGeom>
            <a:solidFill>
              <a:srgbClr val="FFFFFF"/>
            </a:solidFill>
            <a:ln w="8925" cap="flat">
              <a:noFill/>
              <a:prstDash val="solid"/>
              <a:miter/>
            </a:ln>
          </p:spPr>
          <p:txBody>
            <a:bodyPr rtlCol="0" anchor="ctr"/>
            <a:lstStyle/>
            <a:p>
              <a:endParaRPr lang="en-US"/>
            </a:p>
          </p:txBody>
        </p:sp>
        <p:sp>
          <p:nvSpPr>
            <p:cNvPr id="62" name="Freeform 61">
              <a:extLst>
                <a:ext uri="{FF2B5EF4-FFF2-40B4-BE49-F238E27FC236}">
                  <a16:creationId xmlns:a16="http://schemas.microsoft.com/office/drawing/2014/main" id="{F2A1432F-CA6B-FA35-36E4-8B0A59244716}"/>
                </a:ext>
              </a:extLst>
            </p:cNvPr>
            <p:cNvSpPr/>
            <p:nvPr/>
          </p:nvSpPr>
          <p:spPr>
            <a:xfrm>
              <a:off x="10866409" y="1847641"/>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4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3" y="0"/>
                    <a:pt x="0" y="40362"/>
                    <a:pt x="0" y="90101"/>
                  </a:cubicBezTo>
                  <a:cubicBezTo>
                    <a:pt x="0" y="139839"/>
                    <a:pt x="40343" y="180201"/>
                    <a:pt x="90056" y="180201"/>
                  </a:cubicBezTo>
                  <a:cubicBezTo>
                    <a:pt x="139771" y="180201"/>
                    <a:pt x="180114" y="139839"/>
                    <a:pt x="180114" y="90101"/>
                  </a:cubicBezTo>
                  <a:cubicBezTo>
                    <a:pt x="180114" y="40362"/>
                    <a:pt x="139771" y="0"/>
                    <a:pt x="90056" y="0"/>
                  </a:cubicBezTo>
                </a:path>
              </a:pathLst>
            </a:custGeom>
            <a:solidFill>
              <a:srgbClr val="FFFFFF"/>
            </a:solidFill>
            <a:ln w="8925" cap="flat">
              <a:noFill/>
              <a:prstDash val="solid"/>
              <a:miter/>
            </a:ln>
          </p:spPr>
          <p:txBody>
            <a:bodyPr rtlCol="0" anchor="ctr"/>
            <a:lstStyle/>
            <a:p>
              <a:endParaRPr lang="en-US"/>
            </a:p>
          </p:txBody>
        </p:sp>
        <p:sp>
          <p:nvSpPr>
            <p:cNvPr id="63" name="Freeform 62">
              <a:extLst>
                <a:ext uri="{FF2B5EF4-FFF2-40B4-BE49-F238E27FC236}">
                  <a16:creationId xmlns:a16="http://schemas.microsoft.com/office/drawing/2014/main" id="{1F4DF9F6-817B-15FC-EEA2-650CB67377E3}"/>
                </a:ext>
              </a:extLst>
            </p:cNvPr>
            <p:cNvSpPr/>
            <p:nvPr/>
          </p:nvSpPr>
          <p:spPr>
            <a:xfrm>
              <a:off x="10866409" y="1486346"/>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4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3" y="0"/>
                    <a:pt x="0" y="40362"/>
                    <a:pt x="0" y="90101"/>
                  </a:cubicBezTo>
                  <a:cubicBezTo>
                    <a:pt x="0" y="139839"/>
                    <a:pt x="40343" y="180201"/>
                    <a:pt x="90056" y="180201"/>
                  </a:cubicBezTo>
                  <a:cubicBezTo>
                    <a:pt x="139771" y="180201"/>
                    <a:pt x="180114" y="139839"/>
                    <a:pt x="180114" y="90101"/>
                  </a:cubicBezTo>
                  <a:cubicBezTo>
                    <a:pt x="180114" y="40362"/>
                    <a:pt x="139771" y="0"/>
                    <a:pt x="90056" y="0"/>
                  </a:cubicBezTo>
                </a:path>
              </a:pathLst>
            </a:custGeom>
            <a:solidFill>
              <a:srgbClr val="FFFFFF"/>
            </a:solidFill>
            <a:ln w="8925" cap="flat">
              <a:noFill/>
              <a:prstDash val="solid"/>
              <a:miter/>
            </a:ln>
          </p:spPr>
          <p:txBody>
            <a:bodyPr rtlCol="0" anchor="ctr"/>
            <a:lstStyle/>
            <a:p>
              <a:endParaRPr lang="en-US"/>
            </a:p>
          </p:txBody>
        </p:sp>
        <p:sp>
          <p:nvSpPr>
            <p:cNvPr id="64" name="Freeform 63">
              <a:extLst>
                <a:ext uri="{FF2B5EF4-FFF2-40B4-BE49-F238E27FC236}">
                  <a16:creationId xmlns:a16="http://schemas.microsoft.com/office/drawing/2014/main" id="{EE327AE9-9F14-56D3-4C9E-7B493320F8A8}"/>
                </a:ext>
              </a:extLst>
            </p:cNvPr>
            <p:cNvSpPr/>
            <p:nvPr/>
          </p:nvSpPr>
          <p:spPr>
            <a:xfrm>
              <a:off x="8376778" y="2216080"/>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024" y="40362"/>
                    <a:pt x="139771" y="0"/>
                    <a:pt x="90057" y="0"/>
                  </a:cubicBezTo>
                </a:path>
              </a:pathLst>
            </a:custGeom>
            <a:solidFill>
              <a:srgbClr val="FFFFFF"/>
            </a:solidFill>
            <a:ln w="8925" cap="flat">
              <a:noFill/>
              <a:prstDash val="solid"/>
              <a:miter/>
            </a:ln>
          </p:spPr>
          <p:txBody>
            <a:bodyPr rtlCol="0" anchor="ctr"/>
            <a:lstStyle/>
            <a:p>
              <a:endParaRPr lang="en-US"/>
            </a:p>
          </p:txBody>
        </p:sp>
        <p:sp>
          <p:nvSpPr>
            <p:cNvPr id="65" name="Freeform 64">
              <a:extLst>
                <a:ext uri="{FF2B5EF4-FFF2-40B4-BE49-F238E27FC236}">
                  <a16:creationId xmlns:a16="http://schemas.microsoft.com/office/drawing/2014/main" id="{094C3AE4-71A3-35AC-C04A-7DEBE2710A14}"/>
                </a:ext>
              </a:extLst>
            </p:cNvPr>
            <p:cNvSpPr/>
            <p:nvPr/>
          </p:nvSpPr>
          <p:spPr>
            <a:xfrm>
              <a:off x="8732453" y="765720"/>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3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2" y="0"/>
                    <a:pt x="0" y="40362"/>
                    <a:pt x="0" y="90101"/>
                  </a:cubicBezTo>
                  <a:cubicBezTo>
                    <a:pt x="0" y="139839"/>
                    <a:pt x="40342" y="180201"/>
                    <a:pt x="90056" y="180201"/>
                  </a:cubicBezTo>
                  <a:cubicBezTo>
                    <a:pt x="139770" y="180201"/>
                    <a:pt x="180113" y="139839"/>
                    <a:pt x="180113" y="90101"/>
                  </a:cubicBezTo>
                  <a:cubicBezTo>
                    <a:pt x="180024" y="40362"/>
                    <a:pt x="139770" y="0"/>
                    <a:pt x="90056" y="0"/>
                  </a:cubicBezTo>
                </a:path>
              </a:pathLst>
            </a:custGeom>
            <a:solidFill>
              <a:srgbClr val="FFFFFF"/>
            </a:solidFill>
            <a:ln w="8925" cap="flat">
              <a:noFill/>
              <a:prstDash val="solid"/>
              <a:miter/>
            </a:ln>
          </p:spPr>
          <p:txBody>
            <a:bodyPr rtlCol="0" anchor="ctr"/>
            <a:lstStyle/>
            <a:p>
              <a:endParaRPr lang="en-US"/>
            </a:p>
          </p:txBody>
        </p:sp>
        <p:sp>
          <p:nvSpPr>
            <p:cNvPr id="66" name="Freeform 65">
              <a:extLst>
                <a:ext uri="{FF2B5EF4-FFF2-40B4-BE49-F238E27FC236}">
                  <a16:creationId xmlns:a16="http://schemas.microsoft.com/office/drawing/2014/main" id="{70AB4B87-84B4-5F1F-3DC4-C56DEE5738EF}"/>
                </a:ext>
              </a:extLst>
            </p:cNvPr>
            <p:cNvSpPr/>
            <p:nvPr/>
          </p:nvSpPr>
          <p:spPr>
            <a:xfrm>
              <a:off x="8732453" y="387369"/>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3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2" y="0"/>
                    <a:pt x="0" y="40362"/>
                    <a:pt x="0" y="90101"/>
                  </a:cubicBezTo>
                  <a:cubicBezTo>
                    <a:pt x="0" y="139839"/>
                    <a:pt x="40342" y="180201"/>
                    <a:pt x="90056" y="180201"/>
                  </a:cubicBezTo>
                  <a:cubicBezTo>
                    <a:pt x="139770" y="180201"/>
                    <a:pt x="180113" y="139839"/>
                    <a:pt x="180113" y="90101"/>
                  </a:cubicBezTo>
                  <a:cubicBezTo>
                    <a:pt x="180024" y="40273"/>
                    <a:pt x="139770" y="0"/>
                    <a:pt x="90056" y="0"/>
                  </a:cubicBezTo>
                </a:path>
              </a:pathLst>
            </a:custGeom>
            <a:solidFill>
              <a:srgbClr val="FFFFFF"/>
            </a:solidFill>
            <a:ln w="8925"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0BFCAE45-F12A-72CA-181F-7CF3502532CC}"/>
                </a:ext>
              </a:extLst>
            </p:cNvPr>
            <p:cNvSpPr/>
            <p:nvPr/>
          </p:nvSpPr>
          <p:spPr>
            <a:xfrm>
              <a:off x="8021104" y="2216080"/>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0" y="180201"/>
                    <a:pt x="180113" y="139839"/>
                    <a:pt x="180113" y="90101"/>
                  </a:cubicBezTo>
                  <a:cubicBezTo>
                    <a:pt x="180113" y="40362"/>
                    <a:pt x="139770" y="0"/>
                    <a:pt x="90057" y="0"/>
                  </a:cubicBezTo>
                </a:path>
              </a:pathLst>
            </a:custGeom>
            <a:solidFill>
              <a:srgbClr val="FFFFFF"/>
            </a:solidFill>
            <a:ln w="8925"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07B7A4F-6A54-318C-6F65-86F7E17B63C1}"/>
                </a:ext>
              </a:extLst>
            </p:cNvPr>
            <p:cNvSpPr/>
            <p:nvPr/>
          </p:nvSpPr>
          <p:spPr>
            <a:xfrm>
              <a:off x="10155061" y="2580947"/>
              <a:ext cx="180112" cy="180201"/>
            </a:xfrm>
            <a:custGeom>
              <a:avLst/>
              <a:gdLst>
                <a:gd name="connsiteX0" fmla="*/ 90056 w 180112"/>
                <a:gd name="connsiteY0" fmla="*/ 0 h 180201"/>
                <a:gd name="connsiteX1" fmla="*/ 0 w 180112"/>
                <a:gd name="connsiteY1" fmla="*/ 90101 h 180201"/>
                <a:gd name="connsiteX2" fmla="*/ 90056 w 180112"/>
                <a:gd name="connsiteY2" fmla="*/ 180201 h 180201"/>
                <a:gd name="connsiteX3" fmla="*/ 180113 w 180112"/>
                <a:gd name="connsiteY3" fmla="*/ 90101 h 180201"/>
                <a:gd name="connsiteX4" fmla="*/ 90056 w 180112"/>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2" h="180201">
                  <a:moveTo>
                    <a:pt x="90056" y="0"/>
                  </a:moveTo>
                  <a:cubicBezTo>
                    <a:pt x="40343" y="0"/>
                    <a:pt x="0" y="40362"/>
                    <a:pt x="0" y="90101"/>
                  </a:cubicBezTo>
                  <a:cubicBezTo>
                    <a:pt x="0" y="139839"/>
                    <a:pt x="40343" y="180201"/>
                    <a:pt x="90056" y="180201"/>
                  </a:cubicBezTo>
                  <a:cubicBezTo>
                    <a:pt x="139770" y="180201"/>
                    <a:pt x="180113" y="139839"/>
                    <a:pt x="180113" y="90101"/>
                  </a:cubicBezTo>
                  <a:cubicBezTo>
                    <a:pt x="180113" y="40273"/>
                    <a:pt x="139770" y="0"/>
                    <a:pt x="90056" y="0"/>
                  </a:cubicBezTo>
                </a:path>
              </a:pathLst>
            </a:custGeom>
            <a:solidFill>
              <a:srgbClr val="FFFFFF"/>
            </a:solidFill>
            <a:ln w="8925"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0F48B8CD-A08A-C988-E18E-6D381DA95EC1}"/>
                </a:ext>
              </a:extLst>
            </p:cNvPr>
            <p:cNvSpPr/>
            <p:nvPr/>
          </p:nvSpPr>
          <p:spPr>
            <a:xfrm>
              <a:off x="10510735" y="2580947"/>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4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3" y="0"/>
                    <a:pt x="0" y="40362"/>
                    <a:pt x="0" y="90101"/>
                  </a:cubicBezTo>
                  <a:cubicBezTo>
                    <a:pt x="0" y="139839"/>
                    <a:pt x="40343" y="180201"/>
                    <a:pt x="90056" y="180201"/>
                  </a:cubicBezTo>
                  <a:cubicBezTo>
                    <a:pt x="139771" y="180201"/>
                    <a:pt x="180114" y="139839"/>
                    <a:pt x="180114" y="90101"/>
                  </a:cubicBezTo>
                  <a:cubicBezTo>
                    <a:pt x="180114" y="40273"/>
                    <a:pt x="139771" y="0"/>
                    <a:pt x="90056" y="0"/>
                  </a:cubicBezTo>
                </a:path>
              </a:pathLst>
            </a:custGeom>
            <a:solidFill>
              <a:srgbClr val="FFFFFF"/>
            </a:solidFill>
            <a:ln w="8925"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89E33877-D53D-6EFD-071B-B1B1CCBEDB57}"/>
                </a:ext>
              </a:extLst>
            </p:cNvPr>
            <p:cNvSpPr/>
            <p:nvPr/>
          </p:nvSpPr>
          <p:spPr>
            <a:xfrm>
              <a:off x="11577759" y="2580947"/>
              <a:ext cx="180112" cy="180201"/>
            </a:xfrm>
            <a:custGeom>
              <a:avLst/>
              <a:gdLst>
                <a:gd name="connsiteX0" fmla="*/ 90056 w 180112"/>
                <a:gd name="connsiteY0" fmla="*/ 0 h 180201"/>
                <a:gd name="connsiteX1" fmla="*/ 0 w 180112"/>
                <a:gd name="connsiteY1" fmla="*/ 90101 h 180201"/>
                <a:gd name="connsiteX2" fmla="*/ 90056 w 180112"/>
                <a:gd name="connsiteY2" fmla="*/ 180201 h 180201"/>
                <a:gd name="connsiteX3" fmla="*/ 180113 w 180112"/>
                <a:gd name="connsiteY3" fmla="*/ 90101 h 180201"/>
                <a:gd name="connsiteX4" fmla="*/ 90056 w 180112"/>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2" h="180201">
                  <a:moveTo>
                    <a:pt x="90056" y="0"/>
                  </a:moveTo>
                  <a:cubicBezTo>
                    <a:pt x="40342" y="0"/>
                    <a:pt x="0" y="40362"/>
                    <a:pt x="0" y="90101"/>
                  </a:cubicBezTo>
                  <a:cubicBezTo>
                    <a:pt x="0" y="139839"/>
                    <a:pt x="40342" y="180201"/>
                    <a:pt x="90056" y="180201"/>
                  </a:cubicBezTo>
                  <a:cubicBezTo>
                    <a:pt x="139770" y="180201"/>
                    <a:pt x="180113" y="139839"/>
                    <a:pt x="180113" y="90101"/>
                  </a:cubicBezTo>
                  <a:cubicBezTo>
                    <a:pt x="180023" y="40273"/>
                    <a:pt x="139770" y="0"/>
                    <a:pt x="90056" y="0"/>
                  </a:cubicBezTo>
                </a:path>
              </a:pathLst>
            </a:custGeom>
            <a:solidFill>
              <a:srgbClr val="FFFFFF"/>
            </a:solidFill>
            <a:ln w="8925"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9F7EF103-D592-937C-9ED8-DADCED4CB8DD}"/>
                </a:ext>
              </a:extLst>
            </p:cNvPr>
            <p:cNvSpPr/>
            <p:nvPr/>
          </p:nvSpPr>
          <p:spPr>
            <a:xfrm>
              <a:off x="11222084" y="2580947"/>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4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4" y="139839"/>
                    <a:pt x="180114" y="90101"/>
                  </a:cubicBezTo>
                  <a:cubicBezTo>
                    <a:pt x="180024" y="40273"/>
                    <a:pt x="139771" y="0"/>
                    <a:pt x="90057" y="0"/>
                  </a:cubicBezTo>
                </a:path>
              </a:pathLst>
            </a:custGeom>
            <a:solidFill>
              <a:srgbClr val="D2D4D5"/>
            </a:solidFill>
            <a:ln w="8925"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7FA22AEA-9F7D-9C0E-0254-51FDC0EC4714}"/>
                </a:ext>
              </a:extLst>
            </p:cNvPr>
            <p:cNvSpPr/>
            <p:nvPr/>
          </p:nvSpPr>
          <p:spPr>
            <a:xfrm>
              <a:off x="11222084" y="2967960"/>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4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4" y="139839"/>
                    <a:pt x="180114" y="90101"/>
                  </a:cubicBezTo>
                  <a:cubicBezTo>
                    <a:pt x="180024" y="40362"/>
                    <a:pt x="139771" y="0"/>
                    <a:pt x="90057" y="0"/>
                  </a:cubicBezTo>
                </a:path>
              </a:pathLst>
            </a:custGeom>
            <a:solidFill>
              <a:srgbClr val="D2D4D5"/>
            </a:solidFill>
            <a:ln w="8925"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833B02DB-13A0-D046-A64F-0F5EF99B1B18}"/>
                </a:ext>
              </a:extLst>
            </p:cNvPr>
            <p:cNvSpPr/>
            <p:nvPr/>
          </p:nvSpPr>
          <p:spPr>
            <a:xfrm>
              <a:off x="10866409" y="2580947"/>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4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3" y="0"/>
                    <a:pt x="0" y="40362"/>
                    <a:pt x="0" y="90101"/>
                  </a:cubicBezTo>
                  <a:cubicBezTo>
                    <a:pt x="0" y="139839"/>
                    <a:pt x="40343" y="180201"/>
                    <a:pt x="90056" y="180201"/>
                  </a:cubicBezTo>
                  <a:cubicBezTo>
                    <a:pt x="139771" y="180201"/>
                    <a:pt x="180114" y="139839"/>
                    <a:pt x="180114" y="90101"/>
                  </a:cubicBezTo>
                  <a:cubicBezTo>
                    <a:pt x="180114" y="40273"/>
                    <a:pt x="139771" y="0"/>
                    <a:pt x="90056" y="0"/>
                  </a:cubicBezTo>
                </a:path>
              </a:pathLst>
            </a:custGeom>
            <a:solidFill>
              <a:srgbClr val="D2D4D5"/>
            </a:solidFill>
            <a:ln w="8925"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9BAF5164-6A0E-81F0-1CB6-1F782703012C}"/>
                </a:ext>
              </a:extLst>
            </p:cNvPr>
            <p:cNvSpPr/>
            <p:nvPr/>
          </p:nvSpPr>
          <p:spPr>
            <a:xfrm>
              <a:off x="9799387" y="2580947"/>
              <a:ext cx="180112" cy="180201"/>
            </a:xfrm>
            <a:custGeom>
              <a:avLst/>
              <a:gdLst>
                <a:gd name="connsiteX0" fmla="*/ 90056 w 180112"/>
                <a:gd name="connsiteY0" fmla="*/ 0 h 180201"/>
                <a:gd name="connsiteX1" fmla="*/ 0 w 180112"/>
                <a:gd name="connsiteY1" fmla="*/ 90101 h 180201"/>
                <a:gd name="connsiteX2" fmla="*/ 90056 w 180112"/>
                <a:gd name="connsiteY2" fmla="*/ 180201 h 180201"/>
                <a:gd name="connsiteX3" fmla="*/ 180113 w 180112"/>
                <a:gd name="connsiteY3" fmla="*/ 90101 h 180201"/>
                <a:gd name="connsiteX4" fmla="*/ 90056 w 180112"/>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2" h="180201">
                  <a:moveTo>
                    <a:pt x="90056" y="0"/>
                  </a:moveTo>
                  <a:cubicBezTo>
                    <a:pt x="40342" y="0"/>
                    <a:pt x="0" y="40362"/>
                    <a:pt x="0" y="90101"/>
                  </a:cubicBezTo>
                  <a:cubicBezTo>
                    <a:pt x="0" y="139839"/>
                    <a:pt x="40342" y="180201"/>
                    <a:pt x="90056" y="180201"/>
                  </a:cubicBezTo>
                  <a:cubicBezTo>
                    <a:pt x="139770" y="180201"/>
                    <a:pt x="180113" y="139839"/>
                    <a:pt x="180113" y="90101"/>
                  </a:cubicBezTo>
                  <a:cubicBezTo>
                    <a:pt x="180113" y="40273"/>
                    <a:pt x="139770" y="0"/>
                    <a:pt x="90056" y="0"/>
                  </a:cubicBezTo>
                </a:path>
              </a:pathLst>
            </a:custGeom>
            <a:solidFill>
              <a:srgbClr val="D2D4D5"/>
            </a:solidFill>
            <a:ln w="8925"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1E4907E3-2F19-EFC4-378E-C9888F78EB45}"/>
                </a:ext>
              </a:extLst>
            </p:cNvPr>
            <p:cNvSpPr/>
            <p:nvPr/>
          </p:nvSpPr>
          <p:spPr>
            <a:xfrm>
              <a:off x="9088038" y="2580947"/>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4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3" y="0"/>
                    <a:pt x="0" y="40362"/>
                    <a:pt x="0" y="90101"/>
                  </a:cubicBezTo>
                  <a:cubicBezTo>
                    <a:pt x="0" y="139839"/>
                    <a:pt x="40343" y="180201"/>
                    <a:pt x="90056" y="180201"/>
                  </a:cubicBezTo>
                  <a:cubicBezTo>
                    <a:pt x="139771" y="180201"/>
                    <a:pt x="180114" y="139839"/>
                    <a:pt x="180114" y="90101"/>
                  </a:cubicBezTo>
                  <a:cubicBezTo>
                    <a:pt x="180114" y="40273"/>
                    <a:pt x="139860" y="0"/>
                    <a:pt x="90056" y="0"/>
                  </a:cubicBezTo>
                </a:path>
              </a:pathLst>
            </a:custGeom>
            <a:solidFill>
              <a:srgbClr val="D2D4D5"/>
            </a:solidFill>
            <a:ln w="8925"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0C8B9BE2-9741-51EE-D6E9-6E73F491F56C}"/>
                </a:ext>
              </a:extLst>
            </p:cNvPr>
            <p:cNvSpPr/>
            <p:nvPr/>
          </p:nvSpPr>
          <p:spPr>
            <a:xfrm>
              <a:off x="8732453" y="2580947"/>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3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2" y="0"/>
                    <a:pt x="0" y="40362"/>
                    <a:pt x="0" y="90101"/>
                  </a:cubicBezTo>
                  <a:cubicBezTo>
                    <a:pt x="0" y="139839"/>
                    <a:pt x="40342" y="180201"/>
                    <a:pt x="90056" y="180201"/>
                  </a:cubicBezTo>
                  <a:cubicBezTo>
                    <a:pt x="139770" y="180201"/>
                    <a:pt x="180113" y="139839"/>
                    <a:pt x="180113" y="90101"/>
                  </a:cubicBezTo>
                  <a:cubicBezTo>
                    <a:pt x="180024" y="40273"/>
                    <a:pt x="139770" y="0"/>
                    <a:pt x="90056" y="0"/>
                  </a:cubicBezTo>
                </a:path>
              </a:pathLst>
            </a:custGeom>
            <a:solidFill>
              <a:srgbClr val="D2D4D5"/>
            </a:solidFill>
            <a:ln w="8925" cap="flat">
              <a:no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E04A0A22-3CED-F5E1-D272-ED799828958C}"/>
                </a:ext>
              </a:extLst>
            </p:cNvPr>
            <p:cNvSpPr/>
            <p:nvPr/>
          </p:nvSpPr>
          <p:spPr>
            <a:xfrm>
              <a:off x="8732453" y="2216080"/>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3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2" y="0"/>
                    <a:pt x="0" y="40362"/>
                    <a:pt x="0" y="90101"/>
                  </a:cubicBezTo>
                  <a:cubicBezTo>
                    <a:pt x="0" y="139839"/>
                    <a:pt x="40342" y="180201"/>
                    <a:pt x="90056" y="180201"/>
                  </a:cubicBezTo>
                  <a:cubicBezTo>
                    <a:pt x="139770" y="180201"/>
                    <a:pt x="180113" y="139839"/>
                    <a:pt x="180113" y="90101"/>
                  </a:cubicBezTo>
                  <a:cubicBezTo>
                    <a:pt x="180024" y="40362"/>
                    <a:pt x="139770" y="0"/>
                    <a:pt x="90056" y="0"/>
                  </a:cubicBezTo>
                </a:path>
              </a:pathLst>
            </a:custGeom>
            <a:solidFill>
              <a:srgbClr val="D2D4D5"/>
            </a:solidFill>
            <a:ln w="8925"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133A1048-DAD5-6CF2-FC2A-FB2DE197A25F}"/>
                </a:ext>
              </a:extLst>
            </p:cNvPr>
            <p:cNvSpPr/>
            <p:nvPr/>
          </p:nvSpPr>
          <p:spPr>
            <a:xfrm>
              <a:off x="8021104" y="765720"/>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0" y="180201"/>
                    <a:pt x="180113" y="139839"/>
                    <a:pt x="180113" y="90101"/>
                  </a:cubicBezTo>
                  <a:cubicBezTo>
                    <a:pt x="180113" y="40362"/>
                    <a:pt x="139770" y="0"/>
                    <a:pt x="90057" y="0"/>
                  </a:cubicBezTo>
                </a:path>
              </a:pathLst>
            </a:custGeom>
            <a:solidFill>
              <a:srgbClr val="D2D4D5"/>
            </a:solidFill>
            <a:ln w="8925"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1C188ED4-1642-4DC9-B500-24207264DC73}"/>
                </a:ext>
              </a:extLst>
            </p:cNvPr>
            <p:cNvSpPr/>
            <p:nvPr/>
          </p:nvSpPr>
          <p:spPr>
            <a:xfrm>
              <a:off x="8021104" y="387369"/>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0" y="180201"/>
                    <a:pt x="180113" y="139839"/>
                    <a:pt x="180113" y="90101"/>
                  </a:cubicBezTo>
                  <a:cubicBezTo>
                    <a:pt x="180113" y="40273"/>
                    <a:pt x="139770" y="0"/>
                    <a:pt x="90057" y="0"/>
                  </a:cubicBezTo>
                </a:path>
              </a:pathLst>
            </a:custGeom>
            <a:solidFill>
              <a:srgbClr val="D2D4D5"/>
            </a:solidFill>
            <a:ln w="8925" cap="flat">
              <a:no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C9C82084-9369-2FE7-0A77-59D20A08E31E}"/>
                </a:ext>
              </a:extLst>
            </p:cNvPr>
            <p:cNvSpPr/>
            <p:nvPr/>
          </p:nvSpPr>
          <p:spPr>
            <a:xfrm>
              <a:off x="8376778" y="387369"/>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024" y="40273"/>
                    <a:pt x="139771" y="0"/>
                    <a:pt x="90057" y="0"/>
                  </a:cubicBezTo>
                </a:path>
              </a:pathLst>
            </a:custGeom>
            <a:solidFill>
              <a:srgbClr val="D2D4D5"/>
            </a:solidFill>
            <a:ln w="8925" cap="flat">
              <a:noFill/>
              <a:prstDash val="solid"/>
              <a:miter/>
            </a:ln>
          </p:spPr>
          <p:txBody>
            <a:bodyPr rtlCol="0" anchor="ctr"/>
            <a:lstStyle/>
            <a:p>
              <a:endParaRPr lang="en-US"/>
            </a:p>
          </p:txBody>
        </p:sp>
        <p:sp>
          <p:nvSpPr>
            <p:cNvPr id="81" name="Freeform 80">
              <a:extLst>
                <a:ext uri="{FF2B5EF4-FFF2-40B4-BE49-F238E27FC236}">
                  <a16:creationId xmlns:a16="http://schemas.microsoft.com/office/drawing/2014/main" id="{B21B79C3-4455-EA97-326E-92AF7F750A27}"/>
                </a:ext>
              </a:extLst>
            </p:cNvPr>
            <p:cNvSpPr/>
            <p:nvPr/>
          </p:nvSpPr>
          <p:spPr>
            <a:xfrm>
              <a:off x="10866409" y="2252156"/>
              <a:ext cx="180113" cy="180201"/>
            </a:xfrm>
            <a:custGeom>
              <a:avLst/>
              <a:gdLst>
                <a:gd name="connsiteX0" fmla="*/ 90056 w 180113"/>
                <a:gd name="connsiteY0" fmla="*/ 0 h 180201"/>
                <a:gd name="connsiteX1" fmla="*/ 0 w 180113"/>
                <a:gd name="connsiteY1" fmla="*/ 90100 h 180201"/>
                <a:gd name="connsiteX2" fmla="*/ 90056 w 180113"/>
                <a:gd name="connsiteY2" fmla="*/ 180201 h 180201"/>
                <a:gd name="connsiteX3" fmla="*/ 180114 w 180113"/>
                <a:gd name="connsiteY3" fmla="*/ 90100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3" y="0"/>
                    <a:pt x="0" y="40362"/>
                    <a:pt x="0" y="90100"/>
                  </a:cubicBezTo>
                  <a:cubicBezTo>
                    <a:pt x="0" y="139839"/>
                    <a:pt x="40343" y="180201"/>
                    <a:pt x="90056" y="180201"/>
                  </a:cubicBezTo>
                  <a:cubicBezTo>
                    <a:pt x="139771" y="180201"/>
                    <a:pt x="180114" y="139839"/>
                    <a:pt x="180114" y="90100"/>
                  </a:cubicBezTo>
                  <a:cubicBezTo>
                    <a:pt x="180114" y="40273"/>
                    <a:pt x="139771" y="0"/>
                    <a:pt x="90056" y="0"/>
                  </a:cubicBezTo>
                </a:path>
              </a:pathLst>
            </a:custGeom>
            <a:solidFill>
              <a:srgbClr val="D2D4D5"/>
            </a:solidFill>
            <a:ln w="8925" cap="flat">
              <a:noFill/>
              <a:prstDash val="solid"/>
              <a:miter/>
            </a:ln>
          </p:spPr>
          <p:txBody>
            <a:bodyPr rtlCol="0" anchor="ctr"/>
            <a:lstStyle/>
            <a:p>
              <a:endParaRPr lang="en-US"/>
            </a:p>
          </p:txBody>
        </p:sp>
        <p:sp>
          <p:nvSpPr>
            <p:cNvPr id="82" name="Freeform 81">
              <a:extLst>
                <a:ext uri="{FF2B5EF4-FFF2-40B4-BE49-F238E27FC236}">
                  <a16:creationId xmlns:a16="http://schemas.microsoft.com/office/drawing/2014/main" id="{BAF835D0-0DFB-7ADD-4E8C-0B5EB1D3FA4B}"/>
                </a:ext>
              </a:extLst>
            </p:cNvPr>
            <p:cNvSpPr/>
            <p:nvPr/>
          </p:nvSpPr>
          <p:spPr>
            <a:xfrm>
              <a:off x="10866409" y="2967960"/>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4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3" y="0"/>
                    <a:pt x="0" y="40362"/>
                    <a:pt x="0" y="90101"/>
                  </a:cubicBezTo>
                  <a:cubicBezTo>
                    <a:pt x="0" y="139839"/>
                    <a:pt x="40343" y="180201"/>
                    <a:pt x="90056" y="180201"/>
                  </a:cubicBezTo>
                  <a:cubicBezTo>
                    <a:pt x="139771" y="180201"/>
                    <a:pt x="180114" y="139839"/>
                    <a:pt x="180114" y="90101"/>
                  </a:cubicBezTo>
                  <a:cubicBezTo>
                    <a:pt x="180114" y="40362"/>
                    <a:pt x="139771" y="0"/>
                    <a:pt x="90056" y="0"/>
                  </a:cubicBezTo>
                </a:path>
              </a:pathLst>
            </a:custGeom>
            <a:solidFill>
              <a:srgbClr val="D2D4D5"/>
            </a:solidFill>
            <a:ln w="8925"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964504" y="1684751"/>
            <a:ext cx="4465529" cy="2022953"/>
          </a:xfrm>
        </p:spPr>
        <p:txBody>
          <a:bodyPr anchor="ctr" anchorCtr="0"/>
          <a:lstStyle>
            <a:lvl1pPr algn="ctr">
              <a:defRPr sz="3000" b="0" i="0">
                <a:solidFill>
                  <a:schemeClr val="bg1"/>
                </a:solidFill>
                <a:latin typeface="ABC Oracle Medium" panose="020B0504040202060203" pitchFamily="34" charset="77"/>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352425" y="304974"/>
            <a:ext cx="3125157" cy="1203325"/>
          </a:xfrm>
        </p:spPr>
        <p:txBody>
          <a:bodyPr/>
          <a:lstStyle>
            <a:lvl1pPr>
              <a:spcBef>
                <a:spcPts val="0"/>
              </a:spcBef>
              <a:spcAft>
                <a:spcPts val="0"/>
              </a:spcAft>
              <a:defRPr sz="900" b="0" i="0">
                <a:solidFill>
                  <a:schemeClr val="bg1"/>
                </a:solidFill>
                <a:latin typeface="ABC Oracle Medium" panose="020B0504040202060203" pitchFamily="34" charset="77"/>
              </a:defRPr>
            </a:lvl1pPr>
            <a:lvl2pPr marL="0" indent="0">
              <a:buNone/>
              <a:defRPr sz="900" b="0" i="0">
                <a:solidFill>
                  <a:schemeClr val="bg1"/>
                </a:solidFill>
                <a:latin typeface="ABC Oracle Medium" panose="020B0504040202060203" pitchFamily="34" charset="77"/>
              </a:defRPr>
            </a:lvl2pPr>
            <a:lvl3pPr marL="180975" indent="-180975">
              <a:tabLst/>
              <a:defRPr sz="900" b="0" i="0">
                <a:solidFill>
                  <a:schemeClr val="bg1"/>
                </a:solidFill>
                <a:latin typeface="ABC Oracle Medium" panose="020B0504040202060203" pitchFamily="34" charset="77"/>
              </a:defRPr>
            </a:lvl3pPr>
            <a:lvl4pPr marL="355600" indent="-174625">
              <a:tabLst/>
              <a:defRPr sz="900" b="0" i="0">
                <a:solidFill>
                  <a:schemeClr val="bg1"/>
                </a:solidFill>
                <a:latin typeface="ABC Oracle Medium" panose="020B0504040202060203" pitchFamily="34" charset="77"/>
              </a:defRPr>
            </a:lvl4pPr>
            <a:lvl5pPr marL="536575" indent="-180975">
              <a:tabLst/>
              <a:defRPr sz="900" b="0" i="0">
                <a:solidFill>
                  <a:schemeClr val="bg1"/>
                </a:solidFill>
                <a:latin typeface="ABC Oracle Medium" panose="020B050404020206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a:noFill/>
        </p:spPr>
        <p:txBody>
          <a:bodyPr/>
          <a:lstStyle>
            <a:lvl1pPr>
              <a:defRPr>
                <a:solidFill>
                  <a:schemeClr val="bg1"/>
                </a:solidFill>
              </a:defRPr>
            </a:lvl1pPr>
          </a:lstStyle>
          <a:p>
            <a:fld id="{741AFF56-1126-4107-9C02-BC0EFBF16431}" type="slidenum">
              <a:rPr lang="en-GB" smtClean="0"/>
              <a:pPr/>
              <a:t>‹#›</a:t>
            </a:fld>
            <a:endParaRPr lang="en-GB" dirty="0"/>
          </a:p>
        </p:txBody>
      </p:sp>
      <p:sp>
        <p:nvSpPr>
          <p:cNvPr id="7" name="Slide Number Placeholder 5">
            <a:extLst>
              <a:ext uri="{FF2B5EF4-FFF2-40B4-BE49-F238E27FC236}">
                <a16:creationId xmlns:a16="http://schemas.microsoft.com/office/drawing/2014/main" id="{981B5E96-C20E-3582-E8AB-6D2499FB1A3C}"/>
              </a:ext>
            </a:extLst>
          </p:cNvPr>
          <p:cNvSpPr txBox="1">
            <a:spLocks/>
          </p:cNvSpPr>
          <p:nvPr userDrawn="1"/>
        </p:nvSpPr>
        <p:spPr>
          <a:xfrm>
            <a:off x="13995253" y="6222159"/>
            <a:ext cx="2743200" cy="365125"/>
          </a:xfrm>
          <a:prstGeom prst="rect">
            <a:avLst/>
          </a:prstGeom>
        </p:spPr>
        <p:txBody>
          <a:bodyPr vert="horz" lIns="0" tIns="0" rIns="0" bIns="0" rtlCol="0" anchor="b" anchorCtr="0">
            <a:noAutofit/>
          </a:bodyPr>
          <a:lstStyle>
            <a:defPPr>
              <a:defRPr lang="en-US"/>
            </a:defPPr>
            <a:lvl1pPr marL="0" algn="r" defTabSz="914400" rtl="0" eaLnBrk="1" latinLnBrk="0" hangingPunct="1">
              <a:defRPr sz="1000" b="0" i="0" kern="1200">
                <a:solidFill>
                  <a:schemeClr val="accent3"/>
                </a:solidFill>
                <a:latin typeface="ABC Oracle Medium" panose="020B050404020206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1AFF56-1126-4107-9C02-BC0EFBF16431}" type="slidenum">
              <a:rPr lang="en-GB" smtClean="0"/>
              <a:pPr/>
              <a:t>‹#›</a:t>
            </a:fld>
            <a:endParaRPr lang="en-GB" dirty="0"/>
          </a:p>
        </p:txBody>
      </p:sp>
      <p:sp>
        <p:nvSpPr>
          <p:cNvPr id="4" name="Footer Placeholder 4">
            <a:extLst>
              <a:ext uri="{FF2B5EF4-FFF2-40B4-BE49-F238E27FC236}">
                <a16:creationId xmlns:a16="http://schemas.microsoft.com/office/drawing/2014/main" id="{FCAC37BC-346D-51DA-B8FC-D5C95892C05D}"/>
              </a:ext>
            </a:extLst>
          </p:cNvPr>
          <p:cNvSpPr>
            <a:spLocks noGrp="1"/>
          </p:cNvSpPr>
          <p:nvPr>
            <p:ph type="ftr" sz="quarter" idx="3"/>
          </p:nvPr>
        </p:nvSpPr>
        <p:spPr>
          <a:xfrm>
            <a:off x="4037117" y="6587284"/>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17938761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26849" y="288389"/>
            <a:ext cx="5403810" cy="1232435"/>
          </a:xfrm>
        </p:spPr>
        <p:txBody>
          <a:bodyPr/>
          <a:lstStyle>
            <a:lvl1pPr>
              <a:defRPr>
                <a:solidFill>
                  <a:schemeClr val="accent1"/>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347083" y="1481509"/>
            <a:ext cx="5748917" cy="5066929"/>
          </a:xfrm>
        </p:spPr>
        <p:txBody>
          <a:bodyPr/>
          <a:lstStyle>
            <a:lvl1pPr>
              <a:spcBef>
                <a:spcPts val="0"/>
              </a:spcBef>
              <a:spcAft>
                <a:spcPts val="0"/>
              </a:spcAft>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p:txBody>
          <a:bodyPr/>
          <a:lstStyle>
            <a:lvl1pPr>
              <a:defRPr>
                <a:solidFill>
                  <a:schemeClr val="accent1"/>
                </a:solidFill>
              </a:defRPr>
            </a:lvl1pPr>
          </a:lstStyle>
          <a:p>
            <a:fld id="{741AFF56-1126-4107-9C02-BC0EFBF16431}" type="slidenum">
              <a:rPr lang="en-GB" smtClean="0"/>
              <a:pPr/>
              <a:t>‹#›</a:t>
            </a:fld>
            <a:endParaRPr lang="en-GB" dirty="0"/>
          </a:p>
        </p:txBody>
      </p:sp>
      <p:sp>
        <p:nvSpPr>
          <p:cNvPr id="4" name="Footer Placeholder 4">
            <a:extLst>
              <a:ext uri="{FF2B5EF4-FFF2-40B4-BE49-F238E27FC236}">
                <a16:creationId xmlns:a16="http://schemas.microsoft.com/office/drawing/2014/main" id="{D604D2A8-340C-6811-0193-59710C1F0322}"/>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accent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3080733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D5113-57A5-9394-9EAC-AE049E0FC471}"/>
              </a:ext>
            </a:extLst>
          </p:cNvPr>
          <p:cNvSpPr>
            <a:spLocks noGrp="1"/>
          </p:cNvSpPr>
          <p:nvPr>
            <p:ph type="ctrTitle"/>
          </p:nvPr>
        </p:nvSpPr>
        <p:spPr>
          <a:xfrm>
            <a:off x="321110" y="286185"/>
            <a:ext cx="6571317" cy="780120"/>
          </a:xfrm>
        </p:spPr>
        <p:txBody>
          <a:bodyPr anchor="t" anchorCtr="0"/>
          <a:lstStyle>
            <a:lvl1pPr algn="l">
              <a:defRPr sz="3500" b="0" i="0">
                <a:solidFill>
                  <a:schemeClr val="bg1"/>
                </a:solidFill>
                <a:latin typeface="ABC Oracle Medium" panose="020B0504040202060203" pitchFamily="34" charset="77"/>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0F1D9585-239A-5710-5FBB-F38F3137D466}"/>
              </a:ext>
            </a:extLst>
          </p:cNvPr>
          <p:cNvSpPr>
            <a:spLocks noGrp="1"/>
          </p:cNvSpPr>
          <p:nvPr>
            <p:ph type="subTitle" idx="1"/>
          </p:nvPr>
        </p:nvSpPr>
        <p:spPr>
          <a:xfrm>
            <a:off x="338464" y="1122801"/>
            <a:ext cx="6566752" cy="1598604"/>
          </a:xfrm>
        </p:spPr>
        <p:txBody>
          <a:bodyPr anchor="t" anchorCtr="0"/>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8" name="Freeform 17">
            <a:extLst>
              <a:ext uri="{FF2B5EF4-FFF2-40B4-BE49-F238E27FC236}">
                <a16:creationId xmlns:a16="http://schemas.microsoft.com/office/drawing/2014/main" id="{476D9EB4-DA8D-7007-E1F1-13594489E635}"/>
              </a:ext>
            </a:extLst>
          </p:cNvPr>
          <p:cNvSpPr/>
          <p:nvPr userDrawn="1"/>
        </p:nvSpPr>
        <p:spPr>
          <a:xfrm>
            <a:off x="8188346" y="2855934"/>
            <a:ext cx="3692504" cy="3692504"/>
          </a:xfrm>
          <a:custGeom>
            <a:avLst/>
            <a:gdLst>
              <a:gd name="connsiteX0" fmla="*/ 1027937 w 2055876"/>
              <a:gd name="connsiteY0" fmla="*/ 436911 h 2055876"/>
              <a:gd name="connsiteX1" fmla="*/ 436911 w 2055876"/>
              <a:gd name="connsiteY1" fmla="*/ 1027937 h 2055876"/>
              <a:gd name="connsiteX2" fmla="*/ 1027937 w 2055876"/>
              <a:gd name="connsiteY2" fmla="*/ 1619059 h 2055876"/>
              <a:gd name="connsiteX3" fmla="*/ 1618964 w 2055876"/>
              <a:gd name="connsiteY3" fmla="*/ 1027937 h 2055876"/>
              <a:gd name="connsiteX4" fmla="*/ 1027937 w 2055876"/>
              <a:gd name="connsiteY4" fmla="*/ 436911 h 2055876"/>
              <a:gd name="connsiteX5" fmla="*/ 1027938 w 2055876"/>
              <a:gd name="connsiteY5" fmla="*/ 0 h 2055876"/>
              <a:gd name="connsiteX6" fmla="*/ 2055876 w 2055876"/>
              <a:gd name="connsiteY6" fmla="*/ 1027938 h 2055876"/>
              <a:gd name="connsiteX7" fmla="*/ 2055876 w 2055876"/>
              <a:gd name="connsiteY7" fmla="*/ 2055876 h 2055876"/>
              <a:gd name="connsiteX8" fmla="*/ 1027938 w 2055876"/>
              <a:gd name="connsiteY8" fmla="*/ 2055876 h 2055876"/>
              <a:gd name="connsiteX9" fmla="*/ 0 w 2055876"/>
              <a:gd name="connsiteY9" fmla="*/ 1027938 h 2055876"/>
              <a:gd name="connsiteX10" fmla="*/ 1027938 w 2055876"/>
              <a:gd name="connsiteY10" fmla="*/ 0 h 2055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5876" h="2055876">
                <a:moveTo>
                  <a:pt x="1027937" y="436911"/>
                </a:moveTo>
                <a:cubicBezTo>
                  <a:pt x="701516" y="436911"/>
                  <a:pt x="436911" y="701516"/>
                  <a:pt x="436911" y="1027937"/>
                </a:cubicBezTo>
                <a:cubicBezTo>
                  <a:pt x="436911" y="1354454"/>
                  <a:pt x="701516" y="1619059"/>
                  <a:pt x="1027937" y="1619059"/>
                </a:cubicBezTo>
                <a:cubicBezTo>
                  <a:pt x="1354359" y="1619059"/>
                  <a:pt x="1618964" y="1354454"/>
                  <a:pt x="1618964" y="1027937"/>
                </a:cubicBezTo>
                <a:cubicBezTo>
                  <a:pt x="1618964" y="701516"/>
                  <a:pt x="1354359" y="436911"/>
                  <a:pt x="1027937" y="436911"/>
                </a:cubicBezTo>
                <a:close/>
                <a:moveTo>
                  <a:pt x="1027938" y="0"/>
                </a:moveTo>
                <a:cubicBezTo>
                  <a:pt x="1595628" y="0"/>
                  <a:pt x="2055876" y="460248"/>
                  <a:pt x="2055876" y="1027938"/>
                </a:cubicBezTo>
                <a:lnTo>
                  <a:pt x="2055876" y="2055876"/>
                </a:lnTo>
                <a:lnTo>
                  <a:pt x="1027938" y="2055876"/>
                </a:lnTo>
                <a:cubicBezTo>
                  <a:pt x="460248" y="2055876"/>
                  <a:pt x="0" y="1595723"/>
                  <a:pt x="0" y="1027938"/>
                </a:cubicBezTo>
                <a:cubicBezTo>
                  <a:pt x="0" y="460248"/>
                  <a:pt x="460248" y="0"/>
                  <a:pt x="1027938" y="0"/>
                </a:cubicBezTo>
                <a:close/>
              </a:path>
            </a:pathLst>
          </a:custGeom>
          <a:solidFill>
            <a:schemeClr val="bg1"/>
          </a:solidFill>
          <a:ln w="9525" cap="flat">
            <a:noFill/>
            <a:prstDash val="solid"/>
            <a:miter/>
          </a:ln>
        </p:spPr>
        <p:txBody>
          <a:bodyPr rtlCol="0" anchor="ctr"/>
          <a:lstStyle/>
          <a:p>
            <a:endParaRPr lang="en-US"/>
          </a:p>
        </p:txBody>
      </p:sp>
      <p:sp>
        <p:nvSpPr>
          <p:cNvPr id="13" name="Graphic 11">
            <a:extLst>
              <a:ext uri="{FF2B5EF4-FFF2-40B4-BE49-F238E27FC236}">
                <a16:creationId xmlns:a16="http://schemas.microsoft.com/office/drawing/2014/main" id="{9A47DABB-6B23-B92F-2CE3-C72452A43FFC}"/>
              </a:ext>
            </a:extLst>
          </p:cNvPr>
          <p:cNvSpPr/>
          <p:nvPr/>
        </p:nvSpPr>
        <p:spPr>
          <a:xfrm>
            <a:off x="9244208" y="317500"/>
            <a:ext cx="2636642" cy="1008569"/>
          </a:xfrm>
          <a:custGeom>
            <a:avLst/>
            <a:gdLst>
              <a:gd name="connsiteX0" fmla="*/ 4115562 w 4188999"/>
              <a:gd name="connsiteY0" fmla="*/ 1595750 h 1602377"/>
              <a:gd name="connsiteX1" fmla="*/ 4189000 w 4188999"/>
              <a:gd name="connsiteY1" fmla="*/ 1522747 h 1602377"/>
              <a:gd name="connsiteX2" fmla="*/ 4115562 w 4188999"/>
              <a:gd name="connsiteY2" fmla="*/ 1450690 h 1602377"/>
              <a:gd name="connsiteX3" fmla="*/ 4042124 w 4188999"/>
              <a:gd name="connsiteY3" fmla="*/ 1522747 h 1602377"/>
              <a:gd name="connsiteX4" fmla="*/ 4115562 w 4188999"/>
              <a:gd name="connsiteY4" fmla="*/ 1595750 h 1602377"/>
              <a:gd name="connsiteX5" fmla="*/ 3601307 w 4188999"/>
              <a:gd name="connsiteY5" fmla="*/ 1296067 h 1602377"/>
              <a:gd name="connsiteX6" fmla="*/ 3731038 w 4188999"/>
              <a:gd name="connsiteY6" fmla="*/ 1179414 h 1602377"/>
              <a:gd name="connsiteX7" fmla="*/ 3859816 w 4188999"/>
              <a:gd name="connsiteY7" fmla="*/ 1296067 h 1602377"/>
              <a:gd name="connsiteX8" fmla="*/ 3601307 w 4188999"/>
              <a:gd name="connsiteY8" fmla="*/ 1296067 h 1602377"/>
              <a:gd name="connsiteX9" fmla="*/ 3735800 w 4188999"/>
              <a:gd name="connsiteY9" fmla="*/ 1602378 h 1602377"/>
              <a:gd name="connsiteX10" fmla="*/ 3960019 w 4188999"/>
              <a:gd name="connsiteY10" fmla="*/ 1462053 h 1602377"/>
              <a:gd name="connsiteX11" fmla="*/ 3839813 w 4188999"/>
              <a:gd name="connsiteY11" fmla="*/ 1462053 h 1602377"/>
              <a:gd name="connsiteX12" fmla="*/ 3737705 w 4188999"/>
              <a:gd name="connsiteY12" fmla="*/ 1513278 h 1602377"/>
              <a:gd name="connsiteX13" fmla="*/ 3599403 w 4188999"/>
              <a:gd name="connsiteY13" fmla="*/ 1378634 h 1602377"/>
              <a:gd name="connsiteX14" fmla="*/ 3973354 w 4188999"/>
              <a:gd name="connsiteY14" fmla="*/ 1378634 h 1602377"/>
              <a:gd name="connsiteX15" fmla="*/ 3728180 w 4188999"/>
              <a:gd name="connsiteY15" fmla="*/ 1089367 h 1602377"/>
              <a:gd name="connsiteX16" fmla="*/ 3483959 w 4188999"/>
              <a:gd name="connsiteY16" fmla="*/ 1347387 h 1602377"/>
              <a:gd name="connsiteX17" fmla="*/ 3735800 w 4188999"/>
              <a:gd name="connsiteY17" fmla="*/ 1602378 h 1602377"/>
              <a:gd name="connsiteX18" fmla="*/ 3363754 w 4188999"/>
              <a:gd name="connsiteY18" fmla="*/ 1592909 h 1602377"/>
              <a:gd name="connsiteX19" fmla="*/ 3436239 w 4188999"/>
              <a:gd name="connsiteY19" fmla="*/ 1583441 h 1602377"/>
              <a:gd name="connsiteX20" fmla="*/ 3436239 w 4188999"/>
              <a:gd name="connsiteY20" fmla="*/ 1500969 h 1602377"/>
              <a:gd name="connsiteX21" fmla="*/ 3394234 w 4188999"/>
              <a:gd name="connsiteY21" fmla="*/ 1505703 h 1602377"/>
              <a:gd name="connsiteX22" fmla="*/ 3329369 w 4188999"/>
              <a:gd name="connsiteY22" fmla="*/ 1428912 h 1602377"/>
              <a:gd name="connsiteX23" fmla="*/ 3329369 w 4188999"/>
              <a:gd name="connsiteY23" fmla="*/ 1191818 h 1602377"/>
              <a:gd name="connsiteX24" fmla="*/ 3426714 w 4188999"/>
              <a:gd name="connsiteY24" fmla="*/ 1191818 h 1602377"/>
              <a:gd name="connsiteX25" fmla="*/ 3426714 w 4188999"/>
              <a:gd name="connsiteY25" fmla="*/ 1103570 h 1602377"/>
              <a:gd name="connsiteX26" fmla="*/ 3329369 w 4188999"/>
              <a:gd name="connsiteY26" fmla="*/ 1103570 h 1602377"/>
              <a:gd name="connsiteX27" fmla="*/ 3329369 w 4188999"/>
              <a:gd name="connsiteY27" fmla="*/ 961256 h 1602377"/>
              <a:gd name="connsiteX28" fmla="*/ 3218688 w 4188999"/>
              <a:gd name="connsiteY28" fmla="*/ 961256 h 1602377"/>
              <a:gd name="connsiteX29" fmla="*/ 3218688 w 4188999"/>
              <a:gd name="connsiteY29" fmla="*/ 1103570 h 1602377"/>
              <a:gd name="connsiteX30" fmla="*/ 3135725 w 4188999"/>
              <a:gd name="connsiteY30" fmla="*/ 1103570 h 1602377"/>
              <a:gd name="connsiteX31" fmla="*/ 3135725 w 4188999"/>
              <a:gd name="connsiteY31" fmla="*/ 1191818 h 1602377"/>
              <a:gd name="connsiteX32" fmla="*/ 3218688 w 4188999"/>
              <a:gd name="connsiteY32" fmla="*/ 1191818 h 1602377"/>
              <a:gd name="connsiteX33" fmla="*/ 3218688 w 4188999"/>
              <a:gd name="connsiteY33" fmla="*/ 1449743 h 1602377"/>
              <a:gd name="connsiteX34" fmla="*/ 3363754 w 4188999"/>
              <a:gd name="connsiteY34" fmla="*/ 1592909 h 1602377"/>
              <a:gd name="connsiteX35" fmla="*/ 2815209 w 4188999"/>
              <a:gd name="connsiteY35" fmla="*/ 1602378 h 1602377"/>
              <a:gd name="connsiteX36" fmla="*/ 2952560 w 4188999"/>
              <a:gd name="connsiteY36" fmla="*/ 1528428 h 1602377"/>
              <a:gd name="connsiteX37" fmla="*/ 2952560 w 4188999"/>
              <a:gd name="connsiteY37" fmla="*/ 1588175 h 1602377"/>
              <a:gd name="connsiteX38" fmla="*/ 3064193 w 4188999"/>
              <a:gd name="connsiteY38" fmla="*/ 1588175 h 1602377"/>
              <a:gd name="connsiteX39" fmla="*/ 3064193 w 4188999"/>
              <a:gd name="connsiteY39" fmla="*/ 1103570 h 1602377"/>
              <a:gd name="connsiteX40" fmla="*/ 2950655 w 4188999"/>
              <a:gd name="connsiteY40" fmla="*/ 1103570 h 1602377"/>
              <a:gd name="connsiteX41" fmla="*/ 2950655 w 4188999"/>
              <a:gd name="connsiteY41" fmla="*/ 1372006 h 1602377"/>
              <a:gd name="connsiteX42" fmla="*/ 2848547 w 4188999"/>
              <a:gd name="connsiteY42" fmla="*/ 1509490 h 1602377"/>
              <a:gd name="connsiteX43" fmla="*/ 2766536 w 4188999"/>
              <a:gd name="connsiteY43" fmla="*/ 1407040 h 1602377"/>
              <a:gd name="connsiteX44" fmla="*/ 2766536 w 4188999"/>
              <a:gd name="connsiteY44" fmla="*/ 1103570 h 1602377"/>
              <a:gd name="connsiteX45" fmla="*/ 2652998 w 4188999"/>
              <a:gd name="connsiteY45" fmla="*/ 1103570 h 1602377"/>
              <a:gd name="connsiteX46" fmla="*/ 2652998 w 4188999"/>
              <a:gd name="connsiteY46" fmla="*/ 1424178 h 1602377"/>
              <a:gd name="connsiteX47" fmla="*/ 2815209 w 4188999"/>
              <a:gd name="connsiteY47" fmla="*/ 1602378 h 1602377"/>
              <a:gd name="connsiteX48" fmla="*/ 2499360 w 4188999"/>
              <a:gd name="connsiteY48" fmla="*/ 1592909 h 1602377"/>
              <a:gd name="connsiteX49" fmla="*/ 2571845 w 4188999"/>
              <a:gd name="connsiteY49" fmla="*/ 1583441 h 1602377"/>
              <a:gd name="connsiteX50" fmla="*/ 2571845 w 4188999"/>
              <a:gd name="connsiteY50" fmla="*/ 1500969 h 1602377"/>
              <a:gd name="connsiteX51" fmla="*/ 2529840 w 4188999"/>
              <a:gd name="connsiteY51" fmla="*/ 1505703 h 1602377"/>
              <a:gd name="connsiteX52" fmla="*/ 2464975 w 4188999"/>
              <a:gd name="connsiteY52" fmla="*/ 1428912 h 1602377"/>
              <a:gd name="connsiteX53" fmla="*/ 2464975 w 4188999"/>
              <a:gd name="connsiteY53" fmla="*/ 1191818 h 1602377"/>
              <a:gd name="connsiteX54" fmla="*/ 2562320 w 4188999"/>
              <a:gd name="connsiteY54" fmla="*/ 1191818 h 1602377"/>
              <a:gd name="connsiteX55" fmla="*/ 2562320 w 4188999"/>
              <a:gd name="connsiteY55" fmla="*/ 1103570 h 1602377"/>
              <a:gd name="connsiteX56" fmla="*/ 2465070 w 4188999"/>
              <a:gd name="connsiteY56" fmla="*/ 1103570 h 1602377"/>
              <a:gd name="connsiteX57" fmla="*/ 2465070 w 4188999"/>
              <a:gd name="connsiteY57" fmla="*/ 961256 h 1602377"/>
              <a:gd name="connsiteX58" fmla="*/ 2354390 w 4188999"/>
              <a:gd name="connsiteY58" fmla="*/ 961256 h 1602377"/>
              <a:gd name="connsiteX59" fmla="*/ 2354390 w 4188999"/>
              <a:gd name="connsiteY59" fmla="*/ 1103570 h 1602377"/>
              <a:gd name="connsiteX60" fmla="*/ 2271427 w 4188999"/>
              <a:gd name="connsiteY60" fmla="*/ 1103570 h 1602377"/>
              <a:gd name="connsiteX61" fmla="*/ 2271427 w 4188999"/>
              <a:gd name="connsiteY61" fmla="*/ 1191818 h 1602377"/>
              <a:gd name="connsiteX62" fmla="*/ 2354390 w 4188999"/>
              <a:gd name="connsiteY62" fmla="*/ 1191818 h 1602377"/>
              <a:gd name="connsiteX63" fmla="*/ 2354390 w 4188999"/>
              <a:gd name="connsiteY63" fmla="*/ 1449743 h 1602377"/>
              <a:gd name="connsiteX64" fmla="*/ 2499360 w 4188999"/>
              <a:gd name="connsiteY64" fmla="*/ 1592909 h 1602377"/>
              <a:gd name="connsiteX65" fmla="*/ 2069116 w 4188999"/>
              <a:gd name="connsiteY65" fmla="*/ 980194 h 1602377"/>
              <a:gd name="connsiteX66" fmla="*/ 2143506 w 4188999"/>
              <a:gd name="connsiteY66" fmla="*/ 1054144 h 1602377"/>
              <a:gd name="connsiteX67" fmla="*/ 2217896 w 4188999"/>
              <a:gd name="connsiteY67" fmla="*/ 980194 h 1602377"/>
              <a:gd name="connsiteX68" fmla="*/ 2143506 w 4188999"/>
              <a:gd name="connsiteY68" fmla="*/ 905297 h 1602377"/>
              <a:gd name="connsiteX69" fmla="*/ 2069116 w 4188999"/>
              <a:gd name="connsiteY69" fmla="*/ 980194 h 1602377"/>
              <a:gd name="connsiteX70" fmla="*/ 2087213 w 4188999"/>
              <a:gd name="connsiteY70" fmla="*/ 1588175 h 1602377"/>
              <a:gd name="connsiteX71" fmla="*/ 2199799 w 4188999"/>
              <a:gd name="connsiteY71" fmla="*/ 1588175 h 1602377"/>
              <a:gd name="connsiteX72" fmla="*/ 2199799 w 4188999"/>
              <a:gd name="connsiteY72" fmla="*/ 1103570 h 1602377"/>
              <a:gd name="connsiteX73" fmla="*/ 2087213 w 4188999"/>
              <a:gd name="connsiteY73" fmla="*/ 1103570 h 1602377"/>
              <a:gd name="connsiteX74" fmla="*/ 2087213 w 4188999"/>
              <a:gd name="connsiteY74" fmla="*/ 1588175 h 1602377"/>
              <a:gd name="connsiteX75" fmla="*/ 1928908 w 4188999"/>
              <a:gd name="connsiteY75" fmla="*/ 1592909 h 1602377"/>
              <a:gd name="connsiteX76" fmla="*/ 2001393 w 4188999"/>
              <a:gd name="connsiteY76" fmla="*/ 1583441 h 1602377"/>
              <a:gd name="connsiteX77" fmla="*/ 2001393 w 4188999"/>
              <a:gd name="connsiteY77" fmla="*/ 1500969 h 1602377"/>
              <a:gd name="connsiteX78" fmla="*/ 1959388 w 4188999"/>
              <a:gd name="connsiteY78" fmla="*/ 1505703 h 1602377"/>
              <a:gd name="connsiteX79" fmla="*/ 1894523 w 4188999"/>
              <a:gd name="connsiteY79" fmla="*/ 1428912 h 1602377"/>
              <a:gd name="connsiteX80" fmla="*/ 1894523 w 4188999"/>
              <a:gd name="connsiteY80" fmla="*/ 1191818 h 1602377"/>
              <a:gd name="connsiteX81" fmla="*/ 1991868 w 4188999"/>
              <a:gd name="connsiteY81" fmla="*/ 1191818 h 1602377"/>
              <a:gd name="connsiteX82" fmla="*/ 1991868 w 4188999"/>
              <a:gd name="connsiteY82" fmla="*/ 1103570 h 1602377"/>
              <a:gd name="connsiteX83" fmla="*/ 1894523 w 4188999"/>
              <a:gd name="connsiteY83" fmla="*/ 1103570 h 1602377"/>
              <a:gd name="connsiteX84" fmla="*/ 1894523 w 4188999"/>
              <a:gd name="connsiteY84" fmla="*/ 961256 h 1602377"/>
              <a:gd name="connsiteX85" fmla="*/ 1783842 w 4188999"/>
              <a:gd name="connsiteY85" fmla="*/ 961256 h 1602377"/>
              <a:gd name="connsiteX86" fmla="*/ 1783842 w 4188999"/>
              <a:gd name="connsiteY86" fmla="*/ 1103570 h 1602377"/>
              <a:gd name="connsiteX87" fmla="*/ 1700879 w 4188999"/>
              <a:gd name="connsiteY87" fmla="*/ 1103570 h 1602377"/>
              <a:gd name="connsiteX88" fmla="*/ 1700879 w 4188999"/>
              <a:gd name="connsiteY88" fmla="*/ 1191818 h 1602377"/>
              <a:gd name="connsiteX89" fmla="*/ 1783842 w 4188999"/>
              <a:gd name="connsiteY89" fmla="*/ 1191818 h 1602377"/>
              <a:gd name="connsiteX90" fmla="*/ 1783842 w 4188999"/>
              <a:gd name="connsiteY90" fmla="*/ 1449743 h 1602377"/>
              <a:gd name="connsiteX91" fmla="*/ 1928908 w 4188999"/>
              <a:gd name="connsiteY91" fmla="*/ 1592909 h 1602377"/>
              <a:gd name="connsiteX92" fmla="*/ 1450848 w 4188999"/>
              <a:gd name="connsiteY92" fmla="*/ 1602378 h 1602377"/>
              <a:gd name="connsiteX93" fmla="*/ 1666494 w 4188999"/>
              <a:gd name="connsiteY93" fmla="*/ 1444914 h 1602377"/>
              <a:gd name="connsiteX94" fmla="*/ 1488091 w 4188999"/>
              <a:gd name="connsiteY94" fmla="*/ 1298813 h 1602377"/>
              <a:gd name="connsiteX95" fmla="*/ 1428941 w 4188999"/>
              <a:gd name="connsiteY95" fmla="*/ 1285557 h 1602377"/>
              <a:gd name="connsiteX96" fmla="*/ 1351693 w 4188999"/>
              <a:gd name="connsiteY96" fmla="*/ 1229598 h 1602377"/>
              <a:gd name="connsiteX97" fmla="*/ 1435608 w 4188999"/>
              <a:gd name="connsiteY97" fmla="*/ 1172691 h 1602377"/>
              <a:gd name="connsiteX98" fmla="*/ 1535811 w 4188999"/>
              <a:gd name="connsiteY98" fmla="*/ 1234332 h 1602377"/>
              <a:gd name="connsiteX99" fmla="*/ 1649349 w 4188999"/>
              <a:gd name="connsiteY99" fmla="*/ 1234332 h 1602377"/>
              <a:gd name="connsiteX100" fmla="*/ 1436561 w 4188999"/>
              <a:gd name="connsiteY100" fmla="*/ 1090219 h 1602377"/>
              <a:gd name="connsiteX101" fmla="*/ 1236155 w 4188999"/>
              <a:gd name="connsiteY101" fmla="*/ 1236320 h 1602377"/>
              <a:gd name="connsiteX102" fmla="*/ 1400270 w 4188999"/>
              <a:gd name="connsiteY102" fmla="*/ 1380433 h 1602377"/>
              <a:gd name="connsiteX103" fmla="*/ 1457516 w 4188999"/>
              <a:gd name="connsiteY103" fmla="*/ 1392742 h 1602377"/>
              <a:gd name="connsiteX104" fmla="*/ 1551051 w 4188999"/>
              <a:gd name="connsiteY104" fmla="*/ 1456277 h 1602377"/>
              <a:gd name="connsiteX105" fmla="*/ 1456563 w 4188999"/>
              <a:gd name="connsiteY105" fmla="*/ 1518864 h 1602377"/>
              <a:gd name="connsiteX106" fmla="*/ 1341120 w 4188999"/>
              <a:gd name="connsiteY106" fmla="*/ 1437339 h 1602377"/>
              <a:gd name="connsiteX107" fmla="*/ 1219010 w 4188999"/>
              <a:gd name="connsiteY107" fmla="*/ 1437339 h 1602377"/>
              <a:gd name="connsiteX108" fmla="*/ 1450848 w 4188999"/>
              <a:gd name="connsiteY108" fmla="*/ 1602378 h 1602377"/>
              <a:gd name="connsiteX109" fmla="*/ 720090 w 4188999"/>
              <a:gd name="connsiteY109" fmla="*/ 1588175 h 1602377"/>
              <a:gd name="connsiteX110" fmla="*/ 833628 w 4188999"/>
              <a:gd name="connsiteY110" fmla="*/ 1588175 h 1602377"/>
              <a:gd name="connsiteX111" fmla="*/ 833628 w 4188999"/>
              <a:gd name="connsiteY111" fmla="*/ 1317845 h 1602377"/>
              <a:gd name="connsiteX112" fmla="*/ 943356 w 4188999"/>
              <a:gd name="connsiteY112" fmla="*/ 1182254 h 1602377"/>
              <a:gd name="connsiteX113" fmla="*/ 1023461 w 4188999"/>
              <a:gd name="connsiteY113" fmla="*/ 1275236 h 1602377"/>
              <a:gd name="connsiteX114" fmla="*/ 1023461 w 4188999"/>
              <a:gd name="connsiteY114" fmla="*/ 1588175 h 1602377"/>
              <a:gd name="connsiteX115" fmla="*/ 1137952 w 4188999"/>
              <a:gd name="connsiteY115" fmla="*/ 1588175 h 1602377"/>
              <a:gd name="connsiteX116" fmla="*/ 1137952 w 4188999"/>
              <a:gd name="connsiteY116" fmla="*/ 1265673 h 1602377"/>
              <a:gd name="connsiteX117" fmla="*/ 975741 w 4188999"/>
              <a:gd name="connsiteY117" fmla="*/ 1089272 h 1602377"/>
              <a:gd name="connsiteX118" fmla="*/ 830675 w 4188999"/>
              <a:gd name="connsiteY118" fmla="*/ 1166063 h 1602377"/>
              <a:gd name="connsiteX119" fmla="*/ 830675 w 4188999"/>
              <a:gd name="connsiteY119" fmla="*/ 1103475 h 1602377"/>
              <a:gd name="connsiteX120" fmla="*/ 720090 w 4188999"/>
              <a:gd name="connsiteY120" fmla="*/ 1103475 h 1602377"/>
              <a:gd name="connsiteX121" fmla="*/ 720090 w 4188999"/>
              <a:gd name="connsiteY121" fmla="*/ 1588175 h 1602377"/>
              <a:gd name="connsiteX122" fmla="*/ 471964 w 4188999"/>
              <a:gd name="connsiteY122" fmla="*/ 1588175 h 1602377"/>
              <a:gd name="connsiteX123" fmla="*/ 591217 w 4188999"/>
              <a:gd name="connsiteY123" fmla="*/ 1588175 h 1602377"/>
              <a:gd name="connsiteX124" fmla="*/ 591217 w 4188999"/>
              <a:gd name="connsiteY124" fmla="*/ 924329 h 1602377"/>
              <a:gd name="connsiteX125" fmla="*/ 471964 w 4188999"/>
              <a:gd name="connsiteY125" fmla="*/ 924329 h 1602377"/>
              <a:gd name="connsiteX126" fmla="*/ 471964 w 4188999"/>
              <a:gd name="connsiteY126" fmla="*/ 1588175 h 1602377"/>
              <a:gd name="connsiteX127" fmla="*/ 3960971 w 4188999"/>
              <a:gd name="connsiteY127" fmla="*/ 697081 h 1602377"/>
              <a:gd name="connsiteX128" fmla="*/ 4176617 w 4188999"/>
              <a:gd name="connsiteY128" fmla="*/ 539618 h 1602377"/>
              <a:gd name="connsiteX129" fmla="*/ 3998214 w 4188999"/>
              <a:gd name="connsiteY129" fmla="*/ 393517 h 1602377"/>
              <a:gd name="connsiteX130" fmla="*/ 3939064 w 4188999"/>
              <a:gd name="connsiteY130" fmla="*/ 380261 h 1602377"/>
              <a:gd name="connsiteX131" fmla="*/ 3861816 w 4188999"/>
              <a:gd name="connsiteY131" fmla="*/ 324301 h 1602377"/>
              <a:gd name="connsiteX132" fmla="*/ 3945731 w 4188999"/>
              <a:gd name="connsiteY132" fmla="*/ 267394 h 1602377"/>
              <a:gd name="connsiteX133" fmla="*/ 4045934 w 4188999"/>
              <a:gd name="connsiteY133" fmla="*/ 329035 h 1602377"/>
              <a:gd name="connsiteX134" fmla="*/ 4159472 w 4188999"/>
              <a:gd name="connsiteY134" fmla="*/ 329035 h 1602377"/>
              <a:gd name="connsiteX135" fmla="*/ 3946684 w 4188999"/>
              <a:gd name="connsiteY135" fmla="*/ 184923 h 1602377"/>
              <a:gd name="connsiteX136" fmla="*/ 3746278 w 4188999"/>
              <a:gd name="connsiteY136" fmla="*/ 331024 h 1602377"/>
              <a:gd name="connsiteX137" fmla="*/ 3910394 w 4188999"/>
              <a:gd name="connsiteY137" fmla="*/ 475136 h 1602377"/>
              <a:gd name="connsiteX138" fmla="*/ 3967639 w 4188999"/>
              <a:gd name="connsiteY138" fmla="*/ 487446 h 1602377"/>
              <a:gd name="connsiteX139" fmla="*/ 4061174 w 4188999"/>
              <a:gd name="connsiteY139" fmla="*/ 550980 h 1602377"/>
              <a:gd name="connsiteX140" fmla="*/ 3966686 w 4188999"/>
              <a:gd name="connsiteY140" fmla="*/ 613568 h 1602377"/>
              <a:gd name="connsiteX141" fmla="*/ 3851243 w 4188999"/>
              <a:gd name="connsiteY141" fmla="*/ 532043 h 1602377"/>
              <a:gd name="connsiteX142" fmla="*/ 3729133 w 4188999"/>
              <a:gd name="connsiteY142" fmla="*/ 532043 h 1602377"/>
              <a:gd name="connsiteX143" fmla="*/ 3960971 w 4188999"/>
              <a:gd name="connsiteY143" fmla="*/ 697081 h 1602377"/>
              <a:gd name="connsiteX144" fmla="*/ 3307747 w 4188999"/>
              <a:gd name="connsiteY144" fmla="*/ 390771 h 1602377"/>
              <a:gd name="connsiteX145" fmla="*/ 3437478 w 4188999"/>
              <a:gd name="connsiteY145" fmla="*/ 274117 h 1602377"/>
              <a:gd name="connsiteX146" fmla="*/ 3566255 w 4188999"/>
              <a:gd name="connsiteY146" fmla="*/ 390771 h 1602377"/>
              <a:gd name="connsiteX147" fmla="*/ 3307747 w 4188999"/>
              <a:gd name="connsiteY147" fmla="*/ 390771 h 1602377"/>
              <a:gd name="connsiteX148" fmla="*/ 3442240 w 4188999"/>
              <a:gd name="connsiteY148" fmla="*/ 697081 h 1602377"/>
              <a:gd name="connsiteX149" fmla="*/ 3666458 w 4188999"/>
              <a:gd name="connsiteY149" fmla="*/ 556756 h 1602377"/>
              <a:gd name="connsiteX150" fmla="*/ 3546253 w 4188999"/>
              <a:gd name="connsiteY150" fmla="*/ 556756 h 1602377"/>
              <a:gd name="connsiteX151" fmla="*/ 3444145 w 4188999"/>
              <a:gd name="connsiteY151" fmla="*/ 607981 h 1602377"/>
              <a:gd name="connsiteX152" fmla="*/ 3305842 w 4188999"/>
              <a:gd name="connsiteY152" fmla="*/ 473337 h 1602377"/>
              <a:gd name="connsiteX153" fmla="*/ 3679889 w 4188999"/>
              <a:gd name="connsiteY153" fmla="*/ 473337 h 1602377"/>
              <a:gd name="connsiteX154" fmla="*/ 3434715 w 4188999"/>
              <a:gd name="connsiteY154" fmla="*/ 184070 h 1602377"/>
              <a:gd name="connsiteX155" fmla="*/ 3190494 w 4188999"/>
              <a:gd name="connsiteY155" fmla="*/ 441996 h 1602377"/>
              <a:gd name="connsiteX156" fmla="*/ 3442240 w 4188999"/>
              <a:gd name="connsiteY156" fmla="*/ 697081 h 1602377"/>
              <a:gd name="connsiteX157" fmla="*/ 2968371 w 4188999"/>
              <a:gd name="connsiteY157" fmla="*/ 74897 h 1602377"/>
              <a:gd name="connsiteX158" fmla="*/ 3042761 w 4188999"/>
              <a:gd name="connsiteY158" fmla="*/ 148847 h 1602377"/>
              <a:gd name="connsiteX159" fmla="*/ 3117152 w 4188999"/>
              <a:gd name="connsiteY159" fmla="*/ 74897 h 1602377"/>
              <a:gd name="connsiteX160" fmla="*/ 3042761 w 4188999"/>
              <a:gd name="connsiteY160" fmla="*/ 0 h 1602377"/>
              <a:gd name="connsiteX161" fmla="*/ 2968371 w 4188999"/>
              <a:gd name="connsiteY161" fmla="*/ 74897 h 1602377"/>
              <a:gd name="connsiteX162" fmla="*/ 2986469 w 4188999"/>
              <a:gd name="connsiteY162" fmla="*/ 682878 h 1602377"/>
              <a:gd name="connsiteX163" fmla="*/ 3099054 w 4188999"/>
              <a:gd name="connsiteY163" fmla="*/ 682878 h 1602377"/>
              <a:gd name="connsiteX164" fmla="*/ 3099054 w 4188999"/>
              <a:gd name="connsiteY164" fmla="*/ 198179 h 1602377"/>
              <a:gd name="connsiteX165" fmla="*/ 2986469 w 4188999"/>
              <a:gd name="connsiteY165" fmla="*/ 198179 h 1602377"/>
              <a:gd name="connsiteX166" fmla="*/ 2986469 w 4188999"/>
              <a:gd name="connsiteY166" fmla="*/ 682878 h 1602377"/>
              <a:gd name="connsiteX167" fmla="*/ 2628995 w 4188999"/>
              <a:gd name="connsiteY167" fmla="*/ 682878 h 1602377"/>
              <a:gd name="connsiteX168" fmla="*/ 2742533 w 4188999"/>
              <a:gd name="connsiteY168" fmla="*/ 682878 h 1602377"/>
              <a:gd name="connsiteX169" fmla="*/ 2742533 w 4188999"/>
              <a:gd name="connsiteY169" fmla="*/ 463774 h 1602377"/>
              <a:gd name="connsiteX170" fmla="*/ 2826449 w 4188999"/>
              <a:gd name="connsiteY170" fmla="*/ 299682 h 1602377"/>
              <a:gd name="connsiteX171" fmla="*/ 2913316 w 4188999"/>
              <a:gd name="connsiteY171" fmla="*/ 292108 h 1602377"/>
              <a:gd name="connsiteX172" fmla="*/ 2913316 w 4188999"/>
              <a:gd name="connsiteY172" fmla="*/ 183976 h 1602377"/>
              <a:gd name="connsiteX173" fmla="*/ 2739676 w 4188999"/>
              <a:gd name="connsiteY173" fmla="*/ 297789 h 1602377"/>
              <a:gd name="connsiteX174" fmla="*/ 2739676 w 4188999"/>
              <a:gd name="connsiteY174" fmla="*/ 198179 h 1602377"/>
              <a:gd name="connsiteX175" fmla="*/ 2628995 w 4188999"/>
              <a:gd name="connsiteY175" fmla="*/ 198179 h 1602377"/>
              <a:gd name="connsiteX176" fmla="*/ 2628995 w 4188999"/>
              <a:gd name="connsiteY176" fmla="*/ 682878 h 1602377"/>
              <a:gd name="connsiteX177" fmla="*/ 2140744 w 4188999"/>
              <a:gd name="connsiteY177" fmla="*/ 440102 h 1602377"/>
              <a:gd name="connsiteX178" fmla="*/ 2264759 w 4188999"/>
              <a:gd name="connsiteY178" fmla="*/ 275064 h 1602377"/>
              <a:gd name="connsiteX179" fmla="*/ 2392585 w 4188999"/>
              <a:gd name="connsiteY179" fmla="*/ 440102 h 1602377"/>
              <a:gd name="connsiteX180" fmla="*/ 2264759 w 4188999"/>
              <a:gd name="connsiteY180" fmla="*/ 607034 h 1602377"/>
              <a:gd name="connsiteX181" fmla="*/ 2140744 w 4188999"/>
              <a:gd name="connsiteY181" fmla="*/ 440102 h 1602377"/>
              <a:gd name="connsiteX182" fmla="*/ 2242852 w 4188999"/>
              <a:gd name="connsiteY182" fmla="*/ 697081 h 1602377"/>
              <a:gd name="connsiteX183" fmla="*/ 2390775 w 4188999"/>
              <a:gd name="connsiteY183" fmla="*/ 622184 h 1602377"/>
              <a:gd name="connsiteX184" fmla="*/ 2390775 w 4188999"/>
              <a:gd name="connsiteY184" fmla="*/ 682878 h 1602377"/>
              <a:gd name="connsiteX185" fmla="*/ 2505266 w 4188999"/>
              <a:gd name="connsiteY185" fmla="*/ 682878 h 1602377"/>
              <a:gd name="connsiteX186" fmla="*/ 2505266 w 4188999"/>
              <a:gd name="connsiteY186" fmla="*/ 198179 h 1602377"/>
              <a:gd name="connsiteX187" fmla="*/ 2390775 w 4188999"/>
              <a:gd name="connsiteY187" fmla="*/ 198179 h 1602377"/>
              <a:gd name="connsiteX188" fmla="*/ 2390775 w 4188999"/>
              <a:gd name="connsiteY188" fmla="*/ 260766 h 1602377"/>
              <a:gd name="connsiteX189" fmla="*/ 2242852 w 4188999"/>
              <a:gd name="connsiteY189" fmla="*/ 183976 h 1602377"/>
              <a:gd name="connsiteX190" fmla="*/ 2024348 w 4188999"/>
              <a:gd name="connsiteY190" fmla="*/ 440008 h 1602377"/>
              <a:gd name="connsiteX191" fmla="*/ 2242852 w 4188999"/>
              <a:gd name="connsiteY191" fmla="*/ 697081 h 1602377"/>
              <a:gd name="connsiteX192" fmla="*/ 1683068 w 4188999"/>
              <a:gd name="connsiteY192" fmla="*/ 697081 h 1602377"/>
              <a:gd name="connsiteX193" fmla="*/ 1820418 w 4188999"/>
              <a:gd name="connsiteY193" fmla="*/ 623131 h 1602377"/>
              <a:gd name="connsiteX194" fmla="*/ 1820418 w 4188999"/>
              <a:gd name="connsiteY194" fmla="*/ 682878 h 1602377"/>
              <a:gd name="connsiteX195" fmla="*/ 1932051 w 4188999"/>
              <a:gd name="connsiteY195" fmla="*/ 682878 h 1602377"/>
              <a:gd name="connsiteX196" fmla="*/ 1932051 w 4188999"/>
              <a:gd name="connsiteY196" fmla="*/ 198179 h 1602377"/>
              <a:gd name="connsiteX197" fmla="*/ 1818513 w 4188999"/>
              <a:gd name="connsiteY197" fmla="*/ 198179 h 1602377"/>
              <a:gd name="connsiteX198" fmla="*/ 1818513 w 4188999"/>
              <a:gd name="connsiteY198" fmla="*/ 466615 h 1602377"/>
              <a:gd name="connsiteX199" fmla="*/ 1716405 w 4188999"/>
              <a:gd name="connsiteY199" fmla="*/ 604099 h 1602377"/>
              <a:gd name="connsiteX200" fmla="*/ 1634395 w 4188999"/>
              <a:gd name="connsiteY200" fmla="*/ 501649 h 1602377"/>
              <a:gd name="connsiteX201" fmla="*/ 1634395 w 4188999"/>
              <a:gd name="connsiteY201" fmla="*/ 198179 h 1602377"/>
              <a:gd name="connsiteX202" fmla="*/ 1520857 w 4188999"/>
              <a:gd name="connsiteY202" fmla="*/ 198179 h 1602377"/>
              <a:gd name="connsiteX203" fmla="*/ 1520857 w 4188999"/>
              <a:gd name="connsiteY203" fmla="*/ 518787 h 1602377"/>
              <a:gd name="connsiteX204" fmla="*/ 1683068 w 4188999"/>
              <a:gd name="connsiteY204" fmla="*/ 697081 h 1602377"/>
              <a:gd name="connsiteX205" fmla="*/ 1368552 w 4188999"/>
              <a:gd name="connsiteY205" fmla="*/ 687613 h 1602377"/>
              <a:gd name="connsiteX206" fmla="*/ 1441037 w 4188999"/>
              <a:gd name="connsiteY206" fmla="*/ 678144 h 1602377"/>
              <a:gd name="connsiteX207" fmla="*/ 1441037 w 4188999"/>
              <a:gd name="connsiteY207" fmla="*/ 595577 h 1602377"/>
              <a:gd name="connsiteX208" fmla="*/ 1399032 w 4188999"/>
              <a:gd name="connsiteY208" fmla="*/ 600312 h 1602377"/>
              <a:gd name="connsiteX209" fmla="*/ 1334167 w 4188999"/>
              <a:gd name="connsiteY209" fmla="*/ 523521 h 1602377"/>
              <a:gd name="connsiteX210" fmla="*/ 1334167 w 4188999"/>
              <a:gd name="connsiteY210" fmla="*/ 286426 h 1602377"/>
              <a:gd name="connsiteX211" fmla="*/ 1431512 w 4188999"/>
              <a:gd name="connsiteY211" fmla="*/ 286426 h 1602377"/>
              <a:gd name="connsiteX212" fmla="*/ 1431512 w 4188999"/>
              <a:gd name="connsiteY212" fmla="*/ 198179 h 1602377"/>
              <a:gd name="connsiteX213" fmla="*/ 1334167 w 4188999"/>
              <a:gd name="connsiteY213" fmla="*/ 198179 h 1602377"/>
              <a:gd name="connsiteX214" fmla="*/ 1334167 w 4188999"/>
              <a:gd name="connsiteY214" fmla="*/ 55960 h 1602377"/>
              <a:gd name="connsiteX215" fmla="*/ 1223486 w 4188999"/>
              <a:gd name="connsiteY215" fmla="*/ 55960 h 1602377"/>
              <a:gd name="connsiteX216" fmla="*/ 1223486 w 4188999"/>
              <a:gd name="connsiteY216" fmla="*/ 198179 h 1602377"/>
              <a:gd name="connsiteX217" fmla="*/ 1140524 w 4188999"/>
              <a:gd name="connsiteY217" fmla="*/ 198179 h 1602377"/>
              <a:gd name="connsiteX218" fmla="*/ 1140524 w 4188999"/>
              <a:gd name="connsiteY218" fmla="*/ 286426 h 1602377"/>
              <a:gd name="connsiteX219" fmla="*/ 1223486 w 4188999"/>
              <a:gd name="connsiteY219" fmla="*/ 286426 h 1602377"/>
              <a:gd name="connsiteX220" fmla="*/ 1223486 w 4188999"/>
              <a:gd name="connsiteY220" fmla="*/ 544352 h 1602377"/>
              <a:gd name="connsiteX221" fmla="*/ 1368552 w 4188999"/>
              <a:gd name="connsiteY221" fmla="*/ 687613 h 1602377"/>
              <a:gd name="connsiteX222" fmla="*/ 884111 w 4188999"/>
              <a:gd name="connsiteY222" fmla="*/ 697081 h 1602377"/>
              <a:gd name="connsiteX223" fmla="*/ 1106424 w 4188999"/>
              <a:gd name="connsiteY223" fmla="*/ 530149 h 1602377"/>
              <a:gd name="connsiteX224" fmla="*/ 993838 w 4188999"/>
              <a:gd name="connsiteY224" fmla="*/ 530149 h 1602377"/>
              <a:gd name="connsiteX225" fmla="*/ 886015 w 4188999"/>
              <a:gd name="connsiteY225" fmla="*/ 604099 h 1602377"/>
              <a:gd name="connsiteX226" fmla="*/ 761048 w 4188999"/>
              <a:gd name="connsiteY226" fmla="*/ 441901 h 1602377"/>
              <a:gd name="connsiteX227" fmla="*/ 888873 w 4188999"/>
              <a:gd name="connsiteY227" fmla="*/ 277810 h 1602377"/>
              <a:gd name="connsiteX228" fmla="*/ 993838 w 4188999"/>
              <a:gd name="connsiteY228" fmla="*/ 351760 h 1602377"/>
              <a:gd name="connsiteX229" fmla="*/ 1105472 w 4188999"/>
              <a:gd name="connsiteY229" fmla="*/ 351760 h 1602377"/>
              <a:gd name="connsiteX230" fmla="*/ 886968 w 4188999"/>
              <a:gd name="connsiteY230" fmla="*/ 184828 h 1602377"/>
              <a:gd name="connsiteX231" fmla="*/ 641795 w 4188999"/>
              <a:gd name="connsiteY231" fmla="*/ 441807 h 1602377"/>
              <a:gd name="connsiteX232" fmla="*/ 884111 w 4188999"/>
              <a:gd name="connsiteY232" fmla="*/ 697081 h 1602377"/>
              <a:gd name="connsiteX233" fmla="*/ 208026 w 4188999"/>
              <a:gd name="connsiteY233" fmla="*/ 444837 h 1602377"/>
              <a:gd name="connsiteX234" fmla="*/ 252889 w 4188999"/>
              <a:gd name="connsiteY234" fmla="*/ 314927 h 1602377"/>
              <a:gd name="connsiteX235" fmla="*/ 312039 w 4188999"/>
              <a:gd name="connsiteY235" fmla="*/ 143261 h 1602377"/>
              <a:gd name="connsiteX236" fmla="*/ 312992 w 4188999"/>
              <a:gd name="connsiteY236" fmla="*/ 143261 h 1602377"/>
              <a:gd name="connsiteX237" fmla="*/ 372142 w 4188999"/>
              <a:gd name="connsiteY237" fmla="*/ 313980 h 1602377"/>
              <a:gd name="connsiteX238" fmla="*/ 417005 w 4188999"/>
              <a:gd name="connsiteY238" fmla="*/ 444837 h 1602377"/>
              <a:gd name="connsiteX239" fmla="*/ 208026 w 4188999"/>
              <a:gd name="connsiteY239" fmla="*/ 444837 h 1602377"/>
              <a:gd name="connsiteX240" fmla="*/ 0 w 4188999"/>
              <a:gd name="connsiteY240" fmla="*/ 682878 h 1602377"/>
              <a:gd name="connsiteX241" fmla="*/ 124968 w 4188999"/>
              <a:gd name="connsiteY241" fmla="*/ 682878 h 1602377"/>
              <a:gd name="connsiteX242" fmla="*/ 172688 w 4188999"/>
              <a:gd name="connsiteY242" fmla="*/ 544447 h 1602377"/>
              <a:gd name="connsiteX243" fmla="*/ 451295 w 4188999"/>
              <a:gd name="connsiteY243" fmla="*/ 544447 h 1602377"/>
              <a:gd name="connsiteX244" fmla="*/ 499015 w 4188999"/>
              <a:gd name="connsiteY244" fmla="*/ 682878 h 1602377"/>
              <a:gd name="connsiteX245" fmla="*/ 626840 w 4188999"/>
              <a:gd name="connsiteY245" fmla="*/ 682878 h 1602377"/>
              <a:gd name="connsiteX246" fmla="*/ 380714 w 4188999"/>
              <a:gd name="connsiteY246" fmla="*/ 18937 h 1602377"/>
              <a:gd name="connsiteX247" fmla="*/ 248984 w 4188999"/>
              <a:gd name="connsiteY247" fmla="*/ 18937 h 1602377"/>
              <a:gd name="connsiteX248" fmla="*/ 0 w 4188999"/>
              <a:gd name="connsiteY248" fmla="*/ 682878 h 160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4188999" h="1602377">
                <a:moveTo>
                  <a:pt x="4115562" y="1595750"/>
                </a:moveTo>
                <a:cubicBezTo>
                  <a:pt x="4155662" y="1595750"/>
                  <a:pt x="4189000" y="1563462"/>
                  <a:pt x="4189000" y="1522747"/>
                </a:cubicBezTo>
                <a:cubicBezTo>
                  <a:pt x="4189000" y="1482884"/>
                  <a:pt x="4155567" y="1450690"/>
                  <a:pt x="4115562" y="1450690"/>
                </a:cubicBezTo>
                <a:cubicBezTo>
                  <a:pt x="4075462" y="1450690"/>
                  <a:pt x="4042124" y="1482978"/>
                  <a:pt x="4042124" y="1522747"/>
                </a:cubicBezTo>
                <a:cubicBezTo>
                  <a:pt x="4042124" y="1563556"/>
                  <a:pt x="4075462" y="1595750"/>
                  <a:pt x="4115562" y="1595750"/>
                </a:cubicBezTo>
                <a:moveTo>
                  <a:pt x="3601307" y="1296067"/>
                </a:moveTo>
                <a:cubicBezTo>
                  <a:pt x="3611785" y="1227798"/>
                  <a:pt x="3664268" y="1179414"/>
                  <a:pt x="3731038" y="1179414"/>
                </a:cubicBezTo>
                <a:cubicBezTo>
                  <a:pt x="3803523" y="1179414"/>
                  <a:pt x="3849338" y="1225905"/>
                  <a:pt x="3859816" y="1296067"/>
                </a:cubicBezTo>
                <a:lnTo>
                  <a:pt x="3601307" y="1296067"/>
                </a:lnTo>
                <a:close/>
                <a:moveTo>
                  <a:pt x="3735800" y="1602378"/>
                </a:moveTo>
                <a:cubicBezTo>
                  <a:pt x="3856006" y="1602378"/>
                  <a:pt x="3934206" y="1544524"/>
                  <a:pt x="3960019" y="1462053"/>
                </a:cubicBezTo>
                <a:lnTo>
                  <a:pt x="3839813" y="1462053"/>
                </a:lnTo>
                <a:cubicBezTo>
                  <a:pt x="3824573" y="1490459"/>
                  <a:pt x="3793046" y="1513278"/>
                  <a:pt x="3737705" y="1513278"/>
                </a:cubicBezTo>
                <a:cubicBezTo>
                  <a:pt x="3661410" y="1513278"/>
                  <a:pt x="3605117" y="1459212"/>
                  <a:pt x="3599403" y="1378634"/>
                </a:cubicBezTo>
                <a:lnTo>
                  <a:pt x="3973354" y="1378634"/>
                </a:lnTo>
                <a:cubicBezTo>
                  <a:pt x="3971449" y="1194658"/>
                  <a:pt x="3874103" y="1089367"/>
                  <a:pt x="3728180" y="1089367"/>
                </a:cubicBezTo>
                <a:cubicBezTo>
                  <a:pt x="3595592" y="1089367"/>
                  <a:pt x="3483959" y="1195605"/>
                  <a:pt x="3483959" y="1347387"/>
                </a:cubicBezTo>
                <a:cubicBezTo>
                  <a:pt x="3483959" y="1500022"/>
                  <a:pt x="3580353" y="1602378"/>
                  <a:pt x="3735800" y="1602378"/>
                </a:cubicBezTo>
                <a:moveTo>
                  <a:pt x="3363754" y="1592909"/>
                </a:moveTo>
                <a:cubicBezTo>
                  <a:pt x="3390424" y="1592909"/>
                  <a:pt x="3420047" y="1589122"/>
                  <a:pt x="3436239" y="1583441"/>
                </a:cubicBezTo>
                <a:lnTo>
                  <a:pt x="3436239" y="1500969"/>
                </a:lnTo>
                <a:cubicBezTo>
                  <a:pt x="3420047" y="1503809"/>
                  <a:pt x="3405664" y="1505703"/>
                  <a:pt x="3394234" y="1505703"/>
                </a:cubicBezTo>
                <a:cubicBezTo>
                  <a:pt x="3346514" y="1505703"/>
                  <a:pt x="3329369" y="1479191"/>
                  <a:pt x="3329369" y="1428912"/>
                </a:cubicBezTo>
                <a:lnTo>
                  <a:pt x="3329369" y="1191818"/>
                </a:lnTo>
                <a:lnTo>
                  <a:pt x="3426714" y="1191818"/>
                </a:lnTo>
                <a:lnTo>
                  <a:pt x="3426714" y="1103570"/>
                </a:lnTo>
                <a:lnTo>
                  <a:pt x="3329369" y="1103570"/>
                </a:lnTo>
                <a:lnTo>
                  <a:pt x="3329369" y="961256"/>
                </a:lnTo>
                <a:lnTo>
                  <a:pt x="3218688" y="961256"/>
                </a:lnTo>
                <a:lnTo>
                  <a:pt x="3218688" y="1103570"/>
                </a:lnTo>
                <a:lnTo>
                  <a:pt x="3135725" y="1103570"/>
                </a:lnTo>
                <a:lnTo>
                  <a:pt x="3135725" y="1191818"/>
                </a:lnTo>
                <a:lnTo>
                  <a:pt x="3218688" y="1191818"/>
                </a:lnTo>
                <a:lnTo>
                  <a:pt x="3218688" y="1449743"/>
                </a:lnTo>
                <a:cubicBezTo>
                  <a:pt x="3218688" y="1556928"/>
                  <a:pt x="3284601" y="1592909"/>
                  <a:pt x="3363754" y="1592909"/>
                </a:cubicBezTo>
                <a:moveTo>
                  <a:pt x="2815209" y="1602378"/>
                </a:moveTo>
                <a:cubicBezTo>
                  <a:pt x="2879122" y="1602378"/>
                  <a:pt x="2925890" y="1576813"/>
                  <a:pt x="2952560" y="1528428"/>
                </a:cubicBezTo>
                <a:lnTo>
                  <a:pt x="2952560" y="1588175"/>
                </a:lnTo>
                <a:lnTo>
                  <a:pt x="3064193" y="1588175"/>
                </a:lnTo>
                <a:lnTo>
                  <a:pt x="3064193" y="1103570"/>
                </a:lnTo>
                <a:lnTo>
                  <a:pt x="2950655" y="1103570"/>
                </a:lnTo>
                <a:lnTo>
                  <a:pt x="2950655" y="1372006"/>
                </a:lnTo>
                <a:cubicBezTo>
                  <a:pt x="2950655" y="1469722"/>
                  <a:pt x="2899124" y="1509490"/>
                  <a:pt x="2848547" y="1509490"/>
                </a:cubicBezTo>
                <a:cubicBezTo>
                  <a:pt x="2791301" y="1509490"/>
                  <a:pt x="2766536" y="1471521"/>
                  <a:pt x="2766536" y="1407040"/>
                </a:cubicBezTo>
                <a:lnTo>
                  <a:pt x="2766536" y="1103570"/>
                </a:lnTo>
                <a:lnTo>
                  <a:pt x="2652998" y="1103570"/>
                </a:lnTo>
                <a:lnTo>
                  <a:pt x="2652998" y="1424178"/>
                </a:lnTo>
                <a:cubicBezTo>
                  <a:pt x="2652998" y="1541684"/>
                  <a:pt x="2719769" y="1602378"/>
                  <a:pt x="2815209" y="1602378"/>
                </a:cubicBezTo>
                <a:moveTo>
                  <a:pt x="2499360" y="1592909"/>
                </a:moveTo>
                <a:cubicBezTo>
                  <a:pt x="2526030" y="1592909"/>
                  <a:pt x="2555653" y="1589122"/>
                  <a:pt x="2571845" y="1583441"/>
                </a:cubicBezTo>
                <a:lnTo>
                  <a:pt x="2571845" y="1500969"/>
                </a:lnTo>
                <a:cubicBezTo>
                  <a:pt x="2555653" y="1503809"/>
                  <a:pt x="2541270" y="1505703"/>
                  <a:pt x="2529840" y="1505703"/>
                </a:cubicBezTo>
                <a:cubicBezTo>
                  <a:pt x="2482120" y="1505703"/>
                  <a:pt x="2464975" y="1479191"/>
                  <a:pt x="2464975" y="1428912"/>
                </a:cubicBezTo>
                <a:lnTo>
                  <a:pt x="2464975" y="1191818"/>
                </a:lnTo>
                <a:lnTo>
                  <a:pt x="2562320" y="1191818"/>
                </a:lnTo>
                <a:lnTo>
                  <a:pt x="2562320" y="1103570"/>
                </a:lnTo>
                <a:lnTo>
                  <a:pt x="2465070" y="1103570"/>
                </a:lnTo>
                <a:lnTo>
                  <a:pt x="2465070" y="961256"/>
                </a:lnTo>
                <a:lnTo>
                  <a:pt x="2354390" y="961256"/>
                </a:lnTo>
                <a:lnTo>
                  <a:pt x="2354390" y="1103570"/>
                </a:lnTo>
                <a:lnTo>
                  <a:pt x="2271427" y="1103570"/>
                </a:lnTo>
                <a:lnTo>
                  <a:pt x="2271427" y="1191818"/>
                </a:lnTo>
                <a:lnTo>
                  <a:pt x="2354390" y="1191818"/>
                </a:lnTo>
                <a:lnTo>
                  <a:pt x="2354390" y="1449743"/>
                </a:lnTo>
                <a:cubicBezTo>
                  <a:pt x="2354390" y="1556928"/>
                  <a:pt x="2420207" y="1592909"/>
                  <a:pt x="2499360" y="1592909"/>
                </a:cubicBezTo>
                <a:moveTo>
                  <a:pt x="2069116" y="980194"/>
                </a:moveTo>
                <a:cubicBezTo>
                  <a:pt x="2069116" y="1021003"/>
                  <a:pt x="2102549" y="1054144"/>
                  <a:pt x="2143506" y="1054144"/>
                </a:cubicBezTo>
                <a:cubicBezTo>
                  <a:pt x="2184559" y="1054144"/>
                  <a:pt x="2217896" y="1020909"/>
                  <a:pt x="2217896" y="980194"/>
                </a:cubicBezTo>
                <a:cubicBezTo>
                  <a:pt x="2217896" y="938437"/>
                  <a:pt x="2184464" y="905297"/>
                  <a:pt x="2143506" y="905297"/>
                </a:cubicBezTo>
                <a:cubicBezTo>
                  <a:pt x="2102549" y="905297"/>
                  <a:pt x="2069116" y="938532"/>
                  <a:pt x="2069116" y="980194"/>
                </a:cubicBezTo>
                <a:moveTo>
                  <a:pt x="2087213" y="1588175"/>
                </a:moveTo>
                <a:lnTo>
                  <a:pt x="2199799" y="1588175"/>
                </a:lnTo>
                <a:lnTo>
                  <a:pt x="2199799" y="1103570"/>
                </a:lnTo>
                <a:lnTo>
                  <a:pt x="2087213" y="1103570"/>
                </a:lnTo>
                <a:lnTo>
                  <a:pt x="2087213" y="1588175"/>
                </a:lnTo>
                <a:close/>
                <a:moveTo>
                  <a:pt x="1928908" y="1592909"/>
                </a:moveTo>
                <a:cubicBezTo>
                  <a:pt x="1955578" y="1592909"/>
                  <a:pt x="1985201" y="1589122"/>
                  <a:pt x="2001393" y="1583441"/>
                </a:cubicBezTo>
                <a:lnTo>
                  <a:pt x="2001393" y="1500969"/>
                </a:lnTo>
                <a:cubicBezTo>
                  <a:pt x="1985201" y="1503809"/>
                  <a:pt x="1970818" y="1505703"/>
                  <a:pt x="1959388" y="1505703"/>
                </a:cubicBezTo>
                <a:cubicBezTo>
                  <a:pt x="1911668" y="1505703"/>
                  <a:pt x="1894523" y="1479191"/>
                  <a:pt x="1894523" y="1428912"/>
                </a:cubicBezTo>
                <a:lnTo>
                  <a:pt x="1894523" y="1191818"/>
                </a:lnTo>
                <a:lnTo>
                  <a:pt x="1991868" y="1191818"/>
                </a:lnTo>
                <a:lnTo>
                  <a:pt x="1991868" y="1103570"/>
                </a:lnTo>
                <a:lnTo>
                  <a:pt x="1894523" y="1103570"/>
                </a:lnTo>
                <a:lnTo>
                  <a:pt x="1894523" y="961256"/>
                </a:lnTo>
                <a:lnTo>
                  <a:pt x="1783842" y="961256"/>
                </a:lnTo>
                <a:lnTo>
                  <a:pt x="1783842" y="1103570"/>
                </a:lnTo>
                <a:lnTo>
                  <a:pt x="1700879" y="1103570"/>
                </a:lnTo>
                <a:lnTo>
                  <a:pt x="1700879" y="1191818"/>
                </a:lnTo>
                <a:lnTo>
                  <a:pt x="1783842" y="1191818"/>
                </a:lnTo>
                <a:lnTo>
                  <a:pt x="1783842" y="1449743"/>
                </a:lnTo>
                <a:cubicBezTo>
                  <a:pt x="1783842" y="1556928"/>
                  <a:pt x="1849660" y="1592909"/>
                  <a:pt x="1928908" y="1592909"/>
                </a:cubicBezTo>
                <a:moveTo>
                  <a:pt x="1450848" y="1602378"/>
                </a:moveTo>
                <a:cubicBezTo>
                  <a:pt x="1573911" y="1602378"/>
                  <a:pt x="1666494" y="1541684"/>
                  <a:pt x="1666494" y="1444914"/>
                </a:cubicBezTo>
                <a:cubicBezTo>
                  <a:pt x="1666494" y="1360549"/>
                  <a:pt x="1595914" y="1322579"/>
                  <a:pt x="1488091" y="1298813"/>
                </a:cubicBezTo>
                <a:lnTo>
                  <a:pt x="1428941" y="1285557"/>
                </a:lnTo>
                <a:cubicBezTo>
                  <a:pt x="1374553" y="1274195"/>
                  <a:pt x="1351693" y="1260939"/>
                  <a:pt x="1351693" y="1229598"/>
                </a:cubicBezTo>
                <a:cubicBezTo>
                  <a:pt x="1351693" y="1194469"/>
                  <a:pt x="1387031" y="1172691"/>
                  <a:pt x="1435608" y="1172691"/>
                </a:cubicBezTo>
                <a:cubicBezTo>
                  <a:pt x="1489996" y="1172691"/>
                  <a:pt x="1524381" y="1195416"/>
                  <a:pt x="1535811" y="1234332"/>
                </a:cubicBezTo>
                <a:lnTo>
                  <a:pt x="1649349" y="1234332"/>
                </a:lnTo>
                <a:cubicBezTo>
                  <a:pt x="1637919" y="1155647"/>
                  <a:pt x="1566386" y="1090219"/>
                  <a:pt x="1436561" y="1090219"/>
                </a:cubicBezTo>
                <a:cubicBezTo>
                  <a:pt x="1318260" y="1090219"/>
                  <a:pt x="1236155" y="1150913"/>
                  <a:pt x="1236155" y="1236320"/>
                </a:cubicBezTo>
                <a:cubicBezTo>
                  <a:pt x="1236155" y="1316898"/>
                  <a:pt x="1294352" y="1357708"/>
                  <a:pt x="1400270" y="1380433"/>
                </a:cubicBezTo>
                <a:lnTo>
                  <a:pt x="1457516" y="1392742"/>
                </a:lnTo>
                <a:cubicBezTo>
                  <a:pt x="1526191" y="1406945"/>
                  <a:pt x="1551051" y="1423137"/>
                  <a:pt x="1551051" y="1456277"/>
                </a:cubicBezTo>
                <a:cubicBezTo>
                  <a:pt x="1551051" y="1496140"/>
                  <a:pt x="1511903" y="1518864"/>
                  <a:pt x="1456563" y="1518864"/>
                </a:cubicBezTo>
                <a:cubicBezTo>
                  <a:pt x="1386935" y="1518864"/>
                  <a:pt x="1349693" y="1485629"/>
                  <a:pt x="1341120" y="1437339"/>
                </a:cubicBezTo>
                <a:lnTo>
                  <a:pt x="1219010" y="1437339"/>
                </a:lnTo>
                <a:cubicBezTo>
                  <a:pt x="1226630" y="1534109"/>
                  <a:pt x="1309688" y="1602378"/>
                  <a:pt x="1450848" y="1602378"/>
                </a:cubicBezTo>
                <a:moveTo>
                  <a:pt x="720090" y="1588175"/>
                </a:moveTo>
                <a:lnTo>
                  <a:pt x="833628" y="1588175"/>
                </a:lnTo>
                <a:lnTo>
                  <a:pt x="833628" y="1317845"/>
                </a:lnTo>
                <a:cubicBezTo>
                  <a:pt x="833628" y="1222023"/>
                  <a:pt x="887063" y="1182254"/>
                  <a:pt x="943356" y="1182254"/>
                </a:cubicBezTo>
                <a:cubicBezTo>
                  <a:pt x="1002506" y="1182254"/>
                  <a:pt x="1023461" y="1222117"/>
                  <a:pt x="1023461" y="1275236"/>
                </a:cubicBezTo>
                <a:lnTo>
                  <a:pt x="1023461" y="1588175"/>
                </a:lnTo>
                <a:lnTo>
                  <a:pt x="1137952" y="1588175"/>
                </a:lnTo>
                <a:lnTo>
                  <a:pt x="1137952" y="1265673"/>
                </a:lnTo>
                <a:cubicBezTo>
                  <a:pt x="1137952" y="1151860"/>
                  <a:pt x="1074039" y="1089272"/>
                  <a:pt x="975741" y="1089272"/>
                </a:cubicBezTo>
                <a:cubicBezTo>
                  <a:pt x="905161" y="1089272"/>
                  <a:pt x="856488" y="1125348"/>
                  <a:pt x="830675" y="1166063"/>
                </a:cubicBezTo>
                <a:lnTo>
                  <a:pt x="830675" y="1103475"/>
                </a:lnTo>
                <a:lnTo>
                  <a:pt x="720090" y="1103475"/>
                </a:lnTo>
                <a:lnTo>
                  <a:pt x="720090" y="1588175"/>
                </a:lnTo>
                <a:close/>
                <a:moveTo>
                  <a:pt x="471964" y="1588175"/>
                </a:moveTo>
                <a:lnTo>
                  <a:pt x="591217" y="1588175"/>
                </a:lnTo>
                <a:lnTo>
                  <a:pt x="591217" y="924329"/>
                </a:lnTo>
                <a:lnTo>
                  <a:pt x="471964" y="924329"/>
                </a:lnTo>
                <a:lnTo>
                  <a:pt x="471964" y="1588175"/>
                </a:lnTo>
                <a:close/>
                <a:moveTo>
                  <a:pt x="3960971" y="697081"/>
                </a:moveTo>
                <a:cubicBezTo>
                  <a:pt x="4084034" y="697081"/>
                  <a:pt x="4176617" y="636387"/>
                  <a:pt x="4176617" y="539618"/>
                </a:cubicBezTo>
                <a:cubicBezTo>
                  <a:pt x="4176617" y="455157"/>
                  <a:pt x="4106037" y="417283"/>
                  <a:pt x="3998214" y="393517"/>
                </a:cubicBezTo>
                <a:lnTo>
                  <a:pt x="3939064" y="380261"/>
                </a:lnTo>
                <a:cubicBezTo>
                  <a:pt x="3884676" y="368898"/>
                  <a:pt x="3861816" y="355642"/>
                  <a:pt x="3861816" y="324301"/>
                </a:cubicBezTo>
                <a:cubicBezTo>
                  <a:pt x="3861816" y="289172"/>
                  <a:pt x="3897154" y="267394"/>
                  <a:pt x="3945731" y="267394"/>
                </a:cubicBezTo>
                <a:cubicBezTo>
                  <a:pt x="4000119" y="267394"/>
                  <a:pt x="4034504" y="290119"/>
                  <a:pt x="4045934" y="329035"/>
                </a:cubicBezTo>
                <a:lnTo>
                  <a:pt x="4159472" y="329035"/>
                </a:lnTo>
                <a:cubicBezTo>
                  <a:pt x="4148042" y="250351"/>
                  <a:pt x="4076510" y="184923"/>
                  <a:pt x="3946684" y="184923"/>
                </a:cubicBezTo>
                <a:cubicBezTo>
                  <a:pt x="3828383" y="184923"/>
                  <a:pt x="3746278" y="245617"/>
                  <a:pt x="3746278" y="331024"/>
                </a:cubicBezTo>
                <a:cubicBezTo>
                  <a:pt x="3746278" y="411602"/>
                  <a:pt x="3804476" y="452412"/>
                  <a:pt x="3910394" y="475136"/>
                </a:cubicBezTo>
                <a:lnTo>
                  <a:pt x="3967639" y="487446"/>
                </a:lnTo>
                <a:cubicBezTo>
                  <a:pt x="4036314" y="501649"/>
                  <a:pt x="4061174" y="517840"/>
                  <a:pt x="4061174" y="550980"/>
                </a:cubicBezTo>
                <a:cubicBezTo>
                  <a:pt x="4061174" y="590843"/>
                  <a:pt x="4022027" y="613568"/>
                  <a:pt x="3966686" y="613568"/>
                </a:cubicBezTo>
                <a:cubicBezTo>
                  <a:pt x="3897059" y="613568"/>
                  <a:pt x="3859816" y="580333"/>
                  <a:pt x="3851243" y="532043"/>
                </a:cubicBezTo>
                <a:lnTo>
                  <a:pt x="3729133" y="532043"/>
                </a:lnTo>
                <a:cubicBezTo>
                  <a:pt x="3736848" y="628812"/>
                  <a:pt x="3819811" y="697081"/>
                  <a:pt x="3960971" y="697081"/>
                </a:cubicBezTo>
                <a:moveTo>
                  <a:pt x="3307747" y="390771"/>
                </a:moveTo>
                <a:cubicBezTo>
                  <a:pt x="3318224" y="322502"/>
                  <a:pt x="3370707" y="274117"/>
                  <a:pt x="3437478" y="274117"/>
                </a:cubicBezTo>
                <a:cubicBezTo>
                  <a:pt x="3509963" y="274117"/>
                  <a:pt x="3555778" y="320608"/>
                  <a:pt x="3566255" y="390771"/>
                </a:cubicBezTo>
                <a:lnTo>
                  <a:pt x="3307747" y="390771"/>
                </a:lnTo>
                <a:close/>
                <a:moveTo>
                  <a:pt x="3442240" y="697081"/>
                </a:moveTo>
                <a:cubicBezTo>
                  <a:pt x="3562445" y="697081"/>
                  <a:pt x="3640646" y="639228"/>
                  <a:pt x="3666458" y="556756"/>
                </a:cubicBezTo>
                <a:lnTo>
                  <a:pt x="3546253" y="556756"/>
                </a:lnTo>
                <a:cubicBezTo>
                  <a:pt x="3531013" y="585257"/>
                  <a:pt x="3499485" y="607981"/>
                  <a:pt x="3444145" y="607981"/>
                </a:cubicBezTo>
                <a:cubicBezTo>
                  <a:pt x="3367849" y="607981"/>
                  <a:pt x="3311557" y="553915"/>
                  <a:pt x="3305842" y="473337"/>
                </a:cubicBezTo>
                <a:lnTo>
                  <a:pt x="3679889" y="473337"/>
                </a:lnTo>
                <a:cubicBezTo>
                  <a:pt x="3677984" y="289362"/>
                  <a:pt x="3580638" y="184070"/>
                  <a:pt x="3434715" y="184070"/>
                </a:cubicBezTo>
                <a:cubicBezTo>
                  <a:pt x="3302127" y="184070"/>
                  <a:pt x="3190494" y="290308"/>
                  <a:pt x="3190494" y="441996"/>
                </a:cubicBezTo>
                <a:cubicBezTo>
                  <a:pt x="3190399" y="594631"/>
                  <a:pt x="3286792" y="697081"/>
                  <a:pt x="3442240" y="697081"/>
                </a:cubicBezTo>
                <a:moveTo>
                  <a:pt x="2968371" y="74897"/>
                </a:moveTo>
                <a:cubicBezTo>
                  <a:pt x="2968371" y="115707"/>
                  <a:pt x="3001804" y="148847"/>
                  <a:pt x="3042761" y="148847"/>
                </a:cubicBezTo>
                <a:cubicBezTo>
                  <a:pt x="3083814" y="148847"/>
                  <a:pt x="3117152" y="115612"/>
                  <a:pt x="3117152" y="74897"/>
                </a:cubicBezTo>
                <a:cubicBezTo>
                  <a:pt x="3117152" y="33140"/>
                  <a:pt x="3083719" y="0"/>
                  <a:pt x="3042761" y="0"/>
                </a:cubicBezTo>
                <a:cubicBezTo>
                  <a:pt x="3001804" y="0"/>
                  <a:pt x="2968371" y="33235"/>
                  <a:pt x="2968371" y="74897"/>
                </a:cubicBezTo>
                <a:moveTo>
                  <a:pt x="2986469" y="682878"/>
                </a:moveTo>
                <a:lnTo>
                  <a:pt x="3099054" y="682878"/>
                </a:lnTo>
                <a:lnTo>
                  <a:pt x="3099054" y="198179"/>
                </a:lnTo>
                <a:lnTo>
                  <a:pt x="2986469" y="198179"/>
                </a:lnTo>
                <a:lnTo>
                  <a:pt x="2986469" y="682878"/>
                </a:lnTo>
                <a:close/>
                <a:moveTo>
                  <a:pt x="2628995" y="682878"/>
                </a:moveTo>
                <a:lnTo>
                  <a:pt x="2742533" y="682878"/>
                </a:lnTo>
                <a:lnTo>
                  <a:pt x="2742533" y="463774"/>
                </a:lnTo>
                <a:cubicBezTo>
                  <a:pt x="2742533" y="377420"/>
                  <a:pt x="2767298" y="320513"/>
                  <a:pt x="2826449" y="299682"/>
                </a:cubicBezTo>
                <a:cubicBezTo>
                  <a:pt x="2850261" y="291161"/>
                  <a:pt x="2878931" y="289267"/>
                  <a:pt x="2913316" y="292108"/>
                </a:cubicBezTo>
                <a:lnTo>
                  <a:pt x="2913316" y="183976"/>
                </a:lnTo>
                <a:cubicBezTo>
                  <a:pt x="2828354" y="179241"/>
                  <a:pt x="2771204" y="211435"/>
                  <a:pt x="2739676" y="297789"/>
                </a:cubicBezTo>
                <a:lnTo>
                  <a:pt x="2739676" y="198179"/>
                </a:lnTo>
                <a:lnTo>
                  <a:pt x="2628995" y="198179"/>
                </a:lnTo>
                <a:lnTo>
                  <a:pt x="2628995" y="682878"/>
                </a:lnTo>
                <a:close/>
                <a:moveTo>
                  <a:pt x="2140744" y="440102"/>
                </a:moveTo>
                <a:cubicBezTo>
                  <a:pt x="2140744" y="339545"/>
                  <a:pt x="2184654" y="275064"/>
                  <a:pt x="2264759" y="275064"/>
                </a:cubicBezTo>
                <a:cubicBezTo>
                  <a:pt x="2340102" y="275064"/>
                  <a:pt x="2392585" y="344280"/>
                  <a:pt x="2392585" y="440102"/>
                </a:cubicBezTo>
                <a:cubicBezTo>
                  <a:pt x="2392585" y="536872"/>
                  <a:pt x="2340102" y="607034"/>
                  <a:pt x="2264759" y="607034"/>
                </a:cubicBezTo>
                <a:cubicBezTo>
                  <a:pt x="2184654" y="607034"/>
                  <a:pt x="2140744" y="541511"/>
                  <a:pt x="2140744" y="440102"/>
                </a:cubicBezTo>
                <a:moveTo>
                  <a:pt x="2242852" y="697081"/>
                </a:moveTo>
                <a:cubicBezTo>
                  <a:pt x="2313432" y="697081"/>
                  <a:pt x="2364962" y="665740"/>
                  <a:pt x="2390775" y="622184"/>
                </a:cubicBezTo>
                <a:lnTo>
                  <a:pt x="2390775" y="682878"/>
                </a:lnTo>
                <a:lnTo>
                  <a:pt x="2505266" y="682878"/>
                </a:lnTo>
                <a:lnTo>
                  <a:pt x="2505266" y="198179"/>
                </a:lnTo>
                <a:lnTo>
                  <a:pt x="2390775" y="198179"/>
                </a:lnTo>
                <a:lnTo>
                  <a:pt x="2390775" y="260766"/>
                </a:lnTo>
                <a:cubicBezTo>
                  <a:pt x="2365058" y="217116"/>
                  <a:pt x="2313527" y="183976"/>
                  <a:pt x="2242852" y="183976"/>
                </a:cubicBezTo>
                <a:cubicBezTo>
                  <a:pt x="2118836" y="183976"/>
                  <a:pt x="2024348" y="280745"/>
                  <a:pt x="2024348" y="440008"/>
                </a:cubicBezTo>
                <a:cubicBezTo>
                  <a:pt x="2024348" y="599270"/>
                  <a:pt x="2118836" y="697081"/>
                  <a:pt x="2242852" y="697081"/>
                </a:cubicBezTo>
                <a:moveTo>
                  <a:pt x="1683068" y="697081"/>
                </a:moveTo>
                <a:cubicBezTo>
                  <a:pt x="1746980" y="697081"/>
                  <a:pt x="1793748" y="671516"/>
                  <a:pt x="1820418" y="623131"/>
                </a:cubicBezTo>
                <a:lnTo>
                  <a:pt x="1820418" y="682878"/>
                </a:lnTo>
                <a:lnTo>
                  <a:pt x="1932051" y="682878"/>
                </a:lnTo>
                <a:lnTo>
                  <a:pt x="1932051" y="198179"/>
                </a:lnTo>
                <a:lnTo>
                  <a:pt x="1818513" y="198179"/>
                </a:lnTo>
                <a:lnTo>
                  <a:pt x="1818513" y="466615"/>
                </a:lnTo>
                <a:cubicBezTo>
                  <a:pt x="1818513" y="564331"/>
                  <a:pt x="1766983" y="604099"/>
                  <a:pt x="1716405" y="604099"/>
                </a:cubicBezTo>
                <a:cubicBezTo>
                  <a:pt x="1659160" y="604099"/>
                  <a:pt x="1634395" y="566130"/>
                  <a:pt x="1634395" y="501649"/>
                </a:cubicBezTo>
                <a:lnTo>
                  <a:pt x="1634395" y="198179"/>
                </a:lnTo>
                <a:lnTo>
                  <a:pt x="1520857" y="198179"/>
                </a:lnTo>
                <a:lnTo>
                  <a:pt x="1520857" y="518787"/>
                </a:lnTo>
                <a:cubicBezTo>
                  <a:pt x="1520952" y="636387"/>
                  <a:pt x="1587722" y="697081"/>
                  <a:pt x="1683068" y="697081"/>
                </a:cubicBezTo>
                <a:moveTo>
                  <a:pt x="1368552" y="687613"/>
                </a:moveTo>
                <a:cubicBezTo>
                  <a:pt x="1395222" y="687613"/>
                  <a:pt x="1424845" y="683825"/>
                  <a:pt x="1441037" y="678144"/>
                </a:cubicBezTo>
                <a:lnTo>
                  <a:pt x="1441037" y="595577"/>
                </a:lnTo>
                <a:cubicBezTo>
                  <a:pt x="1424845" y="598418"/>
                  <a:pt x="1410462" y="600312"/>
                  <a:pt x="1399032" y="600312"/>
                </a:cubicBezTo>
                <a:cubicBezTo>
                  <a:pt x="1351312" y="600312"/>
                  <a:pt x="1334167" y="573800"/>
                  <a:pt x="1334167" y="523521"/>
                </a:cubicBezTo>
                <a:lnTo>
                  <a:pt x="1334167" y="286426"/>
                </a:lnTo>
                <a:lnTo>
                  <a:pt x="1431512" y="286426"/>
                </a:lnTo>
                <a:lnTo>
                  <a:pt x="1431512" y="198179"/>
                </a:lnTo>
                <a:lnTo>
                  <a:pt x="1334167" y="198179"/>
                </a:lnTo>
                <a:lnTo>
                  <a:pt x="1334167" y="55960"/>
                </a:lnTo>
                <a:lnTo>
                  <a:pt x="1223486" y="55960"/>
                </a:lnTo>
                <a:lnTo>
                  <a:pt x="1223486" y="198179"/>
                </a:lnTo>
                <a:lnTo>
                  <a:pt x="1140524" y="198179"/>
                </a:lnTo>
                <a:lnTo>
                  <a:pt x="1140524" y="286426"/>
                </a:lnTo>
                <a:lnTo>
                  <a:pt x="1223486" y="286426"/>
                </a:lnTo>
                <a:lnTo>
                  <a:pt x="1223486" y="544352"/>
                </a:lnTo>
                <a:cubicBezTo>
                  <a:pt x="1223486" y="651537"/>
                  <a:pt x="1289399" y="687613"/>
                  <a:pt x="1368552" y="687613"/>
                </a:cubicBezTo>
                <a:moveTo>
                  <a:pt x="884111" y="697081"/>
                </a:moveTo>
                <a:cubicBezTo>
                  <a:pt x="1011936" y="697081"/>
                  <a:pt x="1093089" y="620291"/>
                  <a:pt x="1106424" y="530149"/>
                </a:cubicBezTo>
                <a:lnTo>
                  <a:pt x="993838" y="530149"/>
                </a:lnTo>
                <a:cubicBezTo>
                  <a:pt x="978599" y="572853"/>
                  <a:pt x="946118" y="604099"/>
                  <a:pt x="886015" y="604099"/>
                </a:cubicBezTo>
                <a:cubicBezTo>
                  <a:pt x="816388" y="604099"/>
                  <a:pt x="761048" y="548140"/>
                  <a:pt x="761048" y="441901"/>
                </a:cubicBezTo>
                <a:cubicBezTo>
                  <a:pt x="761048" y="334716"/>
                  <a:pt x="815435" y="277810"/>
                  <a:pt x="888873" y="277810"/>
                </a:cubicBezTo>
                <a:cubicBezTo>
                  <a:pt x="944213" y="277810"/>
                  <a:pt x="978599" y="308204"/>
                  <a:pt x="993838" y="351760"/>
                </a:cubicBezTo>
                <a:lnTo>
                  <a:pt x="1105472" y="351760"/>
                </a:lnTo>
                <a:cubicBezTo>
                  <a:pt x="1092137" y="260672"/>
                  <a:pt x="1013841" y="184828"/>
                  <a:pt x="886968" y="184828"/>
                </a:cubicBezTo>
                <a:cubicBezTo>
                  <a:pt x="746760" y="184828"/>
                  <a:pt x="641795" y="285385"/>
                  <a:pt x="641795" y="441807"/>
                </a:cubicBezTo>
                <a:cubicBezTo>
                  <a:pt x="641795" y="600312"/>
                  <a:pt x="744855" y="697081"/>
                  <a:pt x="884111" y="697081"/>
                </a:cubicBezTo>
                <a:moveTo>
                  <a:pt x="208026" y="444837"/>
                </a:moveTo>
                <a:lnTo>
                  <a:pt x="252889" y="314927"/>
                </a:lnTo>
                <a:cubicBezTo>
                  <a:pt x="271939" y="265595"/>
                  <a:pt x="290132" y="209636"/>
                  <a:pt x="312039" y="143261"/>
                </a:cubicBezTo>
                <a:lnTo>
                  <a:pt x="312992" y="143261"/>
                </a:lnTo>
                <a:cubicBezTo>
                  <a:pt x="335851" y="209636"/>
                  <a:pt x="354997" y="266542"/>
                  <a:pt x="372142" y="313980"/>
                </a:cubicBezTo>
                <a:lnTo>
                  <a:pt x="417005" y="444837"/>
                </a:lnTo>
                <a:lnTo>
                  <a:pt x="208026" y="444837"/>
                </a:lnTo>
                <a:close/>
                <a:moveTo>
                  <a:pt x="0" y="682878"/>
                </a:moveTo>
                <a:lnTo>
                  <a:pt x="124968" y="682878"/>
                </a:lnTo>
                <a:lnTo>
                  <a:pt x="172688" y="544447"/>
                </a:lnTo>
                <a:lnTo>
                  <a:pt x="451295" y="544447"/>
                </a:lnTo>
                <a:lnTo>
                  <a:pt x="499015" y="682878"/>
                </a:lnTo>
                <a:lnTo>
                  <a:pt x="626840" y="682878"/>
                </a:lnTo>
                <a:lnTo>
                  <a:pt x="380714" y="18937"/>
                </a:lnTo>
                <a:lnTo>
                  <a:pt x="248984" y="18937"/>
                </a:lnTo>
                <a:lnTo>
                  <a:pt x="0" y="682878"/>
                </a:lnTo>
                <a:close/>
              </a:path>
            </a:pathLst>
          </a:custGeom>
          <a:solidFill>
            <a:schemeClr val="bg1"/>
          </a:solidFill>
          <a:ln w="9525" cap="flat">
            <a:noFill/>
            <a:prstDash val="solid"/>
            <a:miter/>
          </a:ln>
        </p:spPr>
        <p:txBody>
          <a:bodyPr rtlCol="0" anchor="ctr"/>
          <a:lstStyle/>
          <a:p>
            <a:endParaRPr lang="en-US"/>
          </a:p>
        </p:txBody>
      </p:sp>
      <p:sp>
        <p:nvSpPr>
          <p:cNvPr id="4" name="Footer Placeholder 4">
            <a:extLst>
              <a:ext uri="{FF2B5EF4-FFF2-40B4-BE49-F238E27FC236}">
                <a16:creationId xmlns:a16="http://schemas.microsoft.com/office/drawing/2014/main" id="{E2B1A454-EE21-4091-6B8A-932B60F37893}"/>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27100500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hank you">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D5113-57A5-9394-9EAC-AE049E0FC471}"/>
              </a:ext>
            </a:extLst>
          </p:cNvPr>
          <p:cNvSpPr>
            <a:spLocks noGrp="1"/>
          </p:cNvSpPr>
          <p:nvPr>
            <p:ph type="ctrTitle"/>
          </p:nvPr>
        </p:nvSpPr>
        <p:spPr>
          <a:xfrm>
            <a:off x="1169811" y="2819273"/>
            <a:ext cx="6571317" cy="780120"/>
          </a:xfrm>
        </p:spPr>
        <p:txBody>
          <a:bodyPr anchor="t" anchorCtr="0"/>
          <a:lstStyle>
            <a:lvl1pPr algn="l">
              <a:defRPr sz="3100" b="0" i="0">
                <a:solidFill>
                  <a:schemeClr val="bg1"/>
                </a:solidFill>
                <a:latin typeface="ABC Oracle Medium" panose="020B0504040202060203" pitchFamily="34" charset="77"/>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0F1D9585-239A-5710-5FBB-F38F3137D466}"/>
              </a:ext>
            </a:extLst>
          </p:cNvPr>
          <p:cNvSpPr>
            <a:spLocks noGrp="1"/>
          </p:cNvSpPr>
          <p:nvPr>
            <p:ph type="subTitle" idx="1"/>
          </p:nvPr>
        </p:nvSpPr>
        <p:spPr>
          <a:xfrm>
            <a:off x="1187165" y="3624574"/>
            <a:ext cx="6566752" cy="1598604"/>
          </a:xfrm>
        </p:spPr>
        <p:txBody>
          <a:bodyPr anchor="t" anchorCtr="0"/>
          <a:lstStyle>
            <a:lvl1pPr marL="0" indent="0" algn="l">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1" name="Graphic 9">
            <a:extLst>
              <a:ext uri="{FF2B5EF4-FFF2-40B4-BE49-F238E27FC236}">
                <a16:creationId xmlns:a16="http://schemas.microsoft.com/office/drawing/2014/main" id="{7C687F61-C361-715E-64E1-F940513FF331}"/>
              </a:ext>
            </a:extLst>
          </p:cNvPr>
          <p:cNvSpPr/>
          <p:nvPr/>
        </p:nvSpPr>
        <p:spPr>
          <a:xfrm>
            <a:off x="333637" y="298711"/>
            <a:ext cx="2237988" cy="1392303"/>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bg1"/>
          </a:solidFill>
          <a:ln w="9509" cap="flat">
            <a:noFill/>
            <a:prstDash val="solid"/>
            <a:miter/>
          </a:ln>
        </p:spPr>
        <p:txBody>
          <a:bodyPr rtlCol="0" anchor="ctr"/>
          <a:lstStyle/>
          <a:p>
            <a:endParaRPr lang="en-US"/>
          </a:p>
        </p:txBody>
      </p:sp>
      <p:sp>
        <p:nvSpPr>
          <p:cNvPr id="4" name="Footer Placeholder 4">
            <a:extLst>
              <a:ext uri="{FF2B5EF4-FFF2-40B4-BE49-F238E27FC236}">
                <a16:creationId xmlns:a16="http://schemas.microsoft.com/office/drawing/2014/main" id="{0C6C589F-6B53-EA41-A888-1CADBA5F4255}"/>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2152915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7556BB-4111-49CC-AB7C-63453AD31EE9}"/>
              </a:ext>
            </a:extLst>
          </p:cNvPr>
          <p:cNvGraphicFramePr>
            <a:graphicFrameLocks noChangeAspect="1"/>
          </p:cNvGraphicFramePr>
          <p:nvPr userDrawn="1">
            <p:custDataLst>
              <p:tags r:id="rId1"/>
            </p:custDataLst>
            <p:extLst>
              <p:ext uri="{D42A27DB-BD31-4B8C-83A1-F6EECF244321}">
                <p14:modId xmlns:p14="http://schemas.microsoft.com/office/powerpoint/2010/main" val="1420088423"/>
              </p:ext>
            </p:extLst>
          </p:nvPr>
        </p:nvGraphicFramePr>
        <p:xfrm>
          <a:off x="1440" y="1440"/>
          <a:ext cx="1440" cy="1440"/>
        </p:xfrm>
        <a:graphic>
          <a:graphicData uri="http://schemas.openxmlformats.org/presentationml/2006/ole">
            <mc:AlternateContent xmlns:mc="http://schemas.openxmlformats.org/markup-compatibility/2006">
              <mc:Choice xmlns:v="urn:schemas-microsoft-com:vml" Requires="v">
                <p:oleObj name="think-cell Slide" r:id="rId4" imgW="648" imgH="649" progId="TCLayout.ActiveDocument.1">
                  <p:embed/>
                </p:oleObj>
              </mc:Choice>
              <mc:Fallback>
                <p:oleObj name="think-cell Slide" r:id="rId4" imgW="648" imgH="649" progId="TCLayout.ActiveDocument.1">
                  <p:embed/>
                  <p:pic>
                    <p:nvPicPr>
                      <p:cNvPr id="5" name="Object 4" hidden="1">
                        <a:extLst>
                          <a:ext uri="{FF2B5EF4-FFF2-40B4-BE49-F238E27FC236}">
                            <a16:creationId xmlns:a16="http://schemas.microsoft.com/office/drawing/2014/main" id="{6F7556BB-4111-49CC-AB7C-63453AD31EE9}"/>
                          </a:ext>
                        </a:extLst>
                      </p:cNvPr>
                      <p:cNvPicPr/>
                      <p:nvPr/>
                    </p:nvPicPr>
                    <p:blipFill>
                      <a:blip r:embed="rId5"/>
                      <a:stretch>
                        <a:fillRect/>
                      </a:stretch>
                    </p:blipFill>
                    <p:spPr>
                      <a:xfrm>
                        <a:off x="1440" y="1440"/>
                        <a:ext cx="1440"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19B727D-C1BA-4201-BFCB-022DA857122A}"/>
              </a:ext>
            </a:extLst>
          </p:cNvPr>
          <p:cNvSpPr/>
          <p:nvPr userDrawn="1">
            <p:custDataLst>
              <p:tags r:id="rId2"/>
            </p:custDataLst>
          </p:nvPr>
        </p:nvSpPr>
        <p:spPr>
          <a:xfrm>
            <a:off x="0" y="0"/>
            <a:ext cx="143977"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2177"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Graphic 9">
            <a:extLst>
              <a:ext uri="{FF2B5EF4-FFF2-40B4-BE49-F238E27FC236}">
                <a16:creationId xmlns:a16="http://schemas.microsoft.com/office/drawing/2014/main" id="{FF4F2208-3B58-2A98-9BB8-7E06186B69C3}"/>
              </a:ext>
            </a:extLst>
          </p:cNvPr>
          <p:cNvSpPr/>
          <p:nvPr userDrawn="1"/>
        </p:nvSpPr>
        <p:spPr>
          <a:xfrm>
            <a:off x="352425" y="5770222"/>
            <a:ext cx="1250905" cy="778216"/>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accent1"/>
          </a:solidFill>
          <a:ln w="9509" cap="flat">
            <a:noFill/>
            <a:prstDash val="solid"/>
            <a:miter/>
          </a:ln>
        </p:spPr>
        <p:txBody>
          <a:bodyPr rtlCol="0" anchor="ctr"/>
          <a:lstStyle/>
          <a:p>
            <a:endParaRPr lang="en-US"/>
          </a:p>
        </p:txBody>
      </p:sp>
    </p:spTree>
    <p:extLst>
      <p:ext uri="{BB962C8B-B14F-4D97-AF65-F5344CB8AC3E}">
        <p14:creationId xmlns:p14="http://schemas.microsoft.com/office/powerpoint/2010/main" val="119807289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14323" y="269601"/>
            <a:ext cx="5781678" cy="886673"/>
          </a:xfrm>
        </p:spPr>
        <p:txBody>
          <a:bodyPr/>
          <a:lstStyle>
            <a:lvl1pPr>
              <a:defRPr sz="4200" b="0" i="0">
                <a:solidFill>
                  <a:schemeClr val="bg1"/>
                </a:solidFill>
                <a:latin typeface="+mj-lt"/>
              </a:defRPr>
            </a:lvl1pPr>
          </a:lstStyle>
          <a:p>
            <a:r>
              <a:rPr lang="en-US" dirty="0"/>
              <a:t>Click to edit Master</a:t>
            </a:r>
            <a:endParaRPr lang="en-GB" dirty="0"/>
          </a:p>
        </p:txBody>
      </p:sp>
      <p:sp>
        <p:nvSpPr>
          <p:cNvPr id="6" name="Freeform 5">
            <a:extLst>
              <a:ext uri="{FF2B5EF4-FFF2-40B4-BE49-F238E27FC236}">
                <a16:creationId xmlns:a16="http://schemas.microsoft.com/office/drawing/2014/main" id="{D9883D46-8A8A-539B-4F87-C864BBE9A1FC}"/>
              </a:ext>
            </a:extLst>
          </p:cNvPr>
          <p:cNvSpPr/>
          <p:nvPr userDrawn="1"/>
        </p:nvSpPr>
        <p:spPr>
          <a:xfrm>
            <a:off x="6603805" y="1271393"/>
            <a:ext cx="5277046" cy="5277046"/>
          </a:xfrm>
          <a:custGeom>
            <a:avLst/>
            <a:gdLst>
              <a:gd name="connsiteX0" fmla="*/ 2055876 w 2055875"/>
              <a:gd name="connsiteY0" fmla="*/ 2055876 h 2055875"/>
              <a:gd name="connsiteX1" fmla="*/ 2055876 w 2055875"/>
              <a:gd name="connsiteY1" fmla="*/ 1027938 h 2055875"/>
              <a:gd name="connsiteX2" fmla="*/ 1027938 w 2055875"/>
              <a:gd name="connsiteY2" fmla="*/ 0 h 2055875"/>
              <a:gd name="connsiteX3" fmla="*/ 0 w 2055875"/>
              <a:gd name="connsiteY3" fmla="*/ 1027938 h 2055875"/>
              <a:gd name="connsiteX4" fmla="*/ 1027938 w 2055875"/>
              <a:gd name="connsiteY4" fmla="*/ 2055876 h 2055875"/>
              <a:gd name="connsiteX5" fmla="*/ 2055876 w 2055875"/>
              <a:gd name="connsiteY5" fmla="*/ 2055876 h 205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5875" h="2055875">
                <a:moveTo>
                  <a:pt x="2055876" y="2055876"/>
                </a:moveTo>
                <a:lnTo>
                  <a:pt x="2055876" y="1027938"/>
                </a:lnTo>
                <a:cubicBezTo>
                  <a:pt x="2055876" y="460248"/>
                  <a:pt x="1595628" y="0"/>
                  <a:pt x="1027938" y="0"/>
                </a:cubicBezTo>
                <a:cubicBezTo>
                  <a:pt x="460248" y="0"/>
                  <a:pt x="0" y="460248"/>
                  <a:pt x="0" y="1027938"/>
                </a:cubicBezTo>
                <a:cubicBezTo>
                  <a:pt x="0" y="1595723"/>
                  <a:pt x="460248" y="2055876"/>
                  <a:pt x="1027938" y="2055876"/>
                </a:cubicBezTo>
                <a:lnTo>
                  <a:pt x="2055876" y="2055876"/>
                </a:lnTo>
                <a:close/>
              </a:path>
            </a:pathLst>
          </a:custGeom>
          <a:solidFill>
            <a:schemeClr val="bg1"/>
          </a:solidFill>
          <a:ln w="9525" cap="flat">
            <a:noFill/>
            <a:prstDash val="solid"/>
            <a:miter/>
          </a:ln>
        </p:spPr>
        <p:txBody>
          <a:bodyPr rtlCol="0" anchor="ctr"/>
          <a:lstStyle/>
          <a:p>
            <a:endParaRPr lang="en-US"/>
          </a:p>
        </p:txBody>
      </p:sp>
      <p:sp>
        <p:nvSpPr>
          <p:cNvPr id="7" name="Picture Placeholder 20">
            <a:extLst>
              <a:ext uri="{FF2B5EF4-FFF2-40B4-BE49-F238E27FC236}">
                <a16:creationId xmlns:a16="http://schemas.microsoft.com/office/drawing/2014/main" id="{D2909ECF-720F-DB40-98FC-071C2A0D928E}"/>
              </a:ext>
            </a:extLst>
          </p:cNvPr>
          <p:cNvSpPr>
            <a:spLocks noGrp="1"/>
          </p:cNvSpPr>
          <p:nvPr>
            <p:ph type="pic" sz="quarter" idx="10"/>
          </p:nvPr>
        </p:nvSpPr>
        <p:spPr>
          <a:xfrm>
            <a:off x="7389936" y="2057498"/>
            <a:ext cx="3704784" cy="3705082"/>
          </a:xfrm>
          <a:custGeom>
            <a:avLst/>
            <a:gdLst>
              <a:gd name="connsiteX0" fmla="*/ 1517053 w 3034108"/>
              <a:gd name="connsiteY0" fmla="*/ 0 h 3034353"/>
              <a:gd name="connsiteX1" fmla="*/ 3034108 w 3034108"/>
              <a:gd name="connsiteY1" fmla="*/ 1517053 h 3034353"/>
              <a:gd name="connsiteX2" fmla="*/ 1517053 w 3034108"/>
              <a:gd name="connsiteY2" fmla="*/ 3034353 h 3034353"/>
              <a:gd name="connsiteX3" fmla="*/ 0 w 3034108"/>
              <a:gd name="connsiteY3" fmla="*/ 1517053 h 3034353"/>
              <a:gd name="connsiteX4" fmla="*/ 1517053 w 3034108"/>
              <a:gd name="connsiteY4" fmla="*/ 0 h 30343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4108" h="3034353">
                <a:moveTo>
                  <a:pt x="1517053" y="0"/>
                </a:moveTo>
                <a:cubicBezTo>
                  <a:pt x="2354917" y="0"/>
                  <a:pt x="3034108" y="679191"/>
                  <a:pt x="3034108" y="1517053"/>
                </a:cubicBezTo>
                <a:cubicBezTo>
                  <a:pt x="3034108" y="2355161"/>
                  <a:pt x="2354917" y="3034353"/>
                  <a:pt x="1517053" y="3034353"/>
                </a:cubicBezTo>
                <a:cubicBezTo>
                  <a:pt x="679191" y="3034353"/>
                  <a:pt x="0" y="2355161"/>
                  <a:pt x="0" y="1517053"/>
                </a:cubicBezTo>
                <a:cubicBezTo>
                  <a:pt x="0" y="679191"/>
                  <a:pt x="679191" y="0"/>
                  <a:pt x="1517053" y="0"/>
                </a:cubicBezTo>
                <a:close/>
              </a:path>
            </a:pathLst>
          </a:custGeom>
          <a:solidFill>
            <a:schemeClr val="accent1"/>
          </a:solidFill>
        </p:spPr>
        <p:txBody>
          <a:bodyPr wrap="square" anchor="ctr" anchorCtr="0">
            <a:noAutofit/>
          </a:bodyPr>
          <a:lstStyle>
            <a:lvl1pPr algn="ctr">
              <a:defRPr sz="1000">
                <a:solidFill>
                  <a:schemeClr val="bg1"/>
                </a:solidFill>
              </a:defRPr>
            </a:lvl1pPr>
          </a:lstStyle>
          <a:p>
            <a:endParaRPr lang="en-US"/>
          </a:p>
        </p:txBody>
      </p:sp>
      <p:sp>
        <p:nvSpPr>
          <p:cNvPr id="10" name="Graphic 16">
            <a:extLst>
              <a:ext uri="{FF2B5EF4-FFF2-40B4-BE49-F238E27FC236}">
                <a16:creationId xmlns:a16="http://schemas.microsoft.com/office/drawing/2014/main" id="{348D57BA-ABBE-729C-59D1-961D617C7CE8}"/>
              </a:ext>
            </a:extLst>
          </p:cNvPr>
          <p:cNvSpPr/>
          <p:nvPr userDrawn="1"/>
        </p:nvSpPr>
        <p:spPr>
          <a:xfrm>
            <a:off x="352426" y="6216963"/>
            <a:ext cx="862600" cy="331475"/>
          </a:xfrm>
          <a:custGeom>
            <a:avLst/>
            <a:gdLst>
              <a:gd name="connsiteX0" fmla="*/ 3092178 w 3469189"/>
              <a:gd name="connsiteY0" fmla="*/ 1327542 h 1333121"/>
              <a:gd name="connsiteX1" fmla="*/ 3153161 w 3469189"/>
              <a:gd name="connsiteY1" fmla="*/ 1266731 h 1333121"/>
              <a:gd name="connsiteX2" fmla="*/ 3092178 w 3469189"/>
              <a:gd name="connsiteY2" fmla="*/ 1206770 h 1333121"/>
              <a:gd name="connsiteX3" fmla="*/ 3031100 w 3469189"/>
              <a:gd name="connsiteY3" fmla="*/ 1266731 h 1333121"/>
              <a:gd name="connsiteX4" fmla="*/ 3092178 w 3469189"/>
              <a:gd name="connsiteY4" fmla="*/ 1327542 h 1333121"/>
              <a:gd name="connsiteX5" fmla="*/ 2665013 w 3469189"/>
              <a:gd name="connsiteY5" fmla="*/ 1078244 h 1333121"/>
              <a:gd name="connsiteX6" fmla="*/ 2772825 w 3469189"/>
              <a:gd name="connsiteY6" fmla="*/ 981210 h 1333121"/>
              <a:gd name="connsiteX7" fmla="*/ 2879783 w 3469189"/>
              <a:gd name="connsiteY7" fmla="*/ 1078244 h 1333121"/>
              <a:gd name="connsiteX8" fmla="*/ 2665013 w 3469189"/>
              <a:gd name="connsiteY8" fmla="*/ 1078244 h 1333121"/>
              <a:gd name="connsiteX9" fmla="*/ 2776720 w 3469189"/>
              <a:gd name="connsiteY9" fmla="*/ 1333122 h 1333121"/>
              <a:gd name="connsiteX10" fmla="*/ 2962993 w 3469189"/>
              <a:gd name="connsiteY10" fmla="*/ 1216322 h 1333121"/>
              <a:gd name="connsiteX11" fmla="*/ 2863160 w 3469189"/>
              <a:gd name="connsiteY11" fmla="*/ 1216322 h 1333121"/>
              <a:gd name="connsiteX12" fmla="*/ 2778334 w 3469189"/>
              <a:gd name="connsiteY12" fmla="*/ 1258881 h 1333121"/>
              <a:gd name="connsiteX13" fmla="*/ 2663398 w 3469189"/>
              <a:gd name="connsiteY13" fmla="*/ 1146810 h 1333121"/>
              <a:gd name="connsiteX14" fmla="*/ 2974012 w 3469189"/>
              <a:gd name="connsiteY14" fmla="*/ 1146810 h 1333121"/>
              <a:gd name="connsiteX15" fmla="*/ 2770355 w 3469189"/>
              <a:gd name="connsiteY15" fmla="*/ 906213 h 1333121"/>
              <a:gd name="connsiteX16" fmla="*/ 2567459 w 3469189"/>
              <a:gd name="connsiteY16" fmla="*/ 1120802 h 1333121"/>
              <a:gd name="connsiteX17" fmla="*/ 2776720 w 3469189"/>
              <a:gd name="connsiteY17" fmla="*/ 1333122 h 1333121"/>
              <a:gd name="connsiteX18" fmla="*/ 2467721 w 3469189"/>
              <a:gd name="connsiteY18" fmla="*/ 1325177 h 1333121"/>
              <a:gd name="connsiteX19" fmla="*/ 2527944 w 3469189"/>
              <a:gd name="connsiteY19" fmla="*/ 1317233 h 1333121"/>
              <a:gd name="connsiteX20" fmla="*/ 2527944 w 3469189"/>
              <a:gd name="connsiteY20" fmla="*/ 1248572 h 1333121"/>
              <a:gd name="connsiteX21" fmla="*/ 2493082 w 3469189"/>
              <a:gd name="connsiteY21" fmla="*/ 1252544 h 1333121"/>
              <a:gd name="connsiteX22" fmla="*/ 2439224 w 3469189"/>
              <a:gd name="connsiteY22" fmla="*/ 1188612 h 1333121"/>
              <a:gd name="connsiteX23" fmla="*/ 2439224 w 3469189"/>
              <a:gd name="connsiteY23" fmla="*/ 991424 h 1333121"/>
              <a:gd name="connsiteX24" fmla="*/ 2520059 w 3469189"/>
              <a:gd name="connsiteY24" fmla="*/ 991424 h 1333121"/>
              <a:gd name="connsiteX25" fmla="*/ 2520059 w 3469189"/>
              <a:gd name="connsiteY25" fmla="*/ 918034 h 1333121"/>
              <a:gd name="connsiteX26" fmla="*/ 2439224 w 3469189"/>
              <a:gd name="connsiteY26" fmla="*/ 918034 h 1333121"/>
              <a:gd name="connsiteX27" fmla="*/ 2439224 w 3469189"/>
              <a:gd name="connsiteY27" fmla="*/ 799722 h 1333121"/>
              <a:gd name="connsiteX28" fmla="*/ 2347274 w 3469189"/>
              <a:gd name="connsiteY28" fmla="*/ 799722 h 1333121"/>
              <a:gd name="connsiteX29" fmla="*/ 2347274 w 3469189"/>
              <a:gd name="connsiteY29" fmla="*/ 918034 h 1333121"/>
              <a:gd name="connsiteX30" fmla="*/ 2278312 w 3469189"/>
              <a:gd name="connsiteY30" fmla="*/ 918034 h 1333121"/>
              <a:gd name="connsiteX31" fmla="*/ 2278312 w 3469189"/>
              <a:gd name="connsiteY31" fmla="*/ 991424 h 1333121"/>
              <a:gd name="connsiteX32" fmla="*/ 2347274 w 3469189"/>
              <a:gd name="connsiteY32" fmla="*/ 991424 h 1333121"/>
              <a:gd name="connsiteX33" fmla="*/ 2347274 w 3469189"/>
              <a:gd name="connsiteY33" fmla="*/ 1206014 h 1333121"/>
              <a:gd name="connsiteX34" fmla="*/ 2467721 w 3469189"/>
              <a:gd name="connsiteY34" fmla="*/ 1325177 h 1333121"/>
              <a:gd name="connsiteX35" fmla="*/ 2012058 w 3469189"/>
              <a:gd name="connsiteY35" fmla="*/ 1333122 h 1333121"/>
              <a:gd name="connsiteX36" fmla="*/ 2126140 w 3469189"/>
              <a:gd name="connsiteY36" fmla="*/ 1271554 h 1333121"/>
              <a:gd name="connsiteX37" fmla="*/ 2126140 w 3469189"/>
              <a:gd name="connsiteY37" fmla="*/ 1321300 h 1333121"/>
              <a:gd name="connsiteX38" fmla="*/ 2218849 w 3469189"/>
              <a:gd name="connsiteY38" fmla="*/ 1321300 h 1333121"/>
              <a:gd name="connsiteX39" fmla="*/ 2218849 w 3469189"/>
              <a:gd name="connsiteY39" fmla="*/ 918129 h 1333121"/>
              <a:gd name="connsiteX40" fmla="*/ 2124525 w 3469189"/>
              <a:gd name="connsiteY40" fmla="*/ 918129 h 1333121"/>
              <a:gd name="connsiteX41" fmla="*/ 2124525 w 3469189"/>
              <a:gd name="connsiteY41" fmla="*/ 1141419 h 1333121"/>
              <a:gd name="connsiteX42" fmla="*/ 2039700 w 3469189"/>
              <a:gd name="connsiteY42" fmla="*/ 1255854 h 1333121"/>
              <a:gd name="connsiteX43" fmla="*/ 1971593 w 3469189"/>
              <a:gd name="connsiteY43" fmla="*/ 1170643 h 1333121"/>
              <a:gd name="connsiteX44" fmla="*/ 1971593 w 3469189"/>
              <a:gd name="connsiteY44" fmla="*/ 918129 h 1333121"/>
              <a:gd name="connsiteX45" fmla="*/ 1877269 w 3469189"/>
              <a:gd name="connsiteY45" fmla="*/ 918129 h 1333121"/>
              <a:gd name="connsiteX46" fmla="*/ 1877269 w 3469189"/>
              <a:gd name="connsiteY46" fmla="*/ 1184829 h 1333121"/>
              <a:gd name="connsiteX47" fmla="*/ 2012058 w 3469189"/>
              <a:gd name="connsiteY47" fmla="*/ 1333122 h 1333121"/>
              <a:gd name="connsiteX48" fmla="*/ 1749698 w 3469189"/>
              <a:gd name="connsiteY48" fmla="*/ 1325177 h 1333121"/>
              <a:gd name="connsiteX49" fmla="*/ 1809921 w 3469189"/>
              <a:gd name="connsiteY49" fmla="*/ 1317233 h 1333121"/>
              <a:gd name="connsiteX50" fmla="*/ 1809921 w 3469189"/>
              <a:gd name="connsiteY50" fmla="*/ 1248572 h 1333121"/>
              <a:gd name="connsiteX51" fmla="*/ 1775060 w 3469189"/>
              <a:gd name="connsiteY51" fmla="*/ 1252544 h 1333121"/>
              <a:gd name="connsiteX52" fmla="*/ 1721201 w 3469189"/>
              <a:gd name="connsiteY52" fmla="*/ 1188612 h 1333121"/>
              <a:gd name="connsiteX53" fmla="*/ 1721201 w 3469189"/>
              <a:gd name="connsiteY53" fmla="*/ 991424 h 1333121"/>
              <a:gd name="connsiteX54" fmla="*/ 1802037 w 3469189"/>
              <a:gd name="connsiteY54" fmla="*/ 991424 h 1333121"/>
              <a:gd name="connsiteX55" fmla="*/ 1802037 w 3469189"/>
              <a:gd name="connsiteY55" fmla="*/ 918034 h 1333121"/>
              <a:gd name="connsiteX56" fmla="*/ 1721201 w 3469189"/>
              <a:gd name="connsiteY56" fmla="*/ 918034 h 1333121"/>
              <a:gd name="connsiteX57" fmla="*/ 1721201 w 3469189"/>
              <a:gd name="connsiteY57" fmla="*/ 799722 h 1333121"/>
              <a:gd name="connsiteX58" fmla="*/ 1629252 w 3469189"/>
              <a:gd name="connsiteY58" fmla="*/ 799722 h 1333121"/>
              <a:gd name="connsiteX59" fmla="*/ 1629252 w 3469189"/>
              <a:gd name="connsiteY59" fmla="*/ 918034 h 1333121"/>
              <a:gd name="connsiteX60" fmla="*/ 1560290 w 3469189"/>
              <a:gd name="connsiteY60" fmla="*/ 918034 h 1333121"/>
              <a:gd name="connsiteX61" fmla="*/ 1560290 w 3469189"/>
              <a:gd name="connsiteY61" fmla="*/ 991424 h 1333121"/>
              <a:gd name="connsiteX62" fmla="*/ 1629252 w 3469189"/>
              <a:gd name="connsiteY62" fmla="*/ 991424 h 1333121"/>
              <a:gd name="connsiteX63" fmla="*/ 1629252 w 3469189"/>
              <a:gd name="connsiteY63" fmla="*/ 1206014 h 1333121"/>
              <a:gd name="connsiteX64" fmla="*/ 1749698 w 3469189"/>
              <a:gd name="connsiteY64" fmla="*/ 1325177 h 1333121"/>
              <a:gd name="connsiteX65" fmla="*/ 1392349 w 3469189"/>
              <a:gd name="connsiteY65" fmla="*/ 815516 h 1333121"/>
              <a:gd name="connsiteX66" fmla="*/ 1454187 w 3469189"/>
              <a:gd name="connsiteY66" fmla="*/ 877084 h 1333121"/>
              <a:gd name="connsiteX67" fmla="*/ 1516025 w 3469189"/>
              <a:gd name="connsiteY67" fmla="*/ 815516 h 1333121"/>
              <a:gd name="connsiteX68" fmla="*/ 1454187 w 3469189"/>
              <a:gd name="connsiteY68" fmla="*/ 753191 h 1333121"/>
              <a:gd name="connsiteX69" fmla="*/ 1392349 w 3469189"/>
              <a:gd name="connsiteY69" fmla="*/ 815516 h 1333121"/>
              <a:gd name="connsiteX70" fmla="*/ 1407358 w 3469189"/>
              <a:gd name="connsiteY70" fmla="*/ 1321205 h 1333121"/>
              <a:gd name="connsiteX71" fmla="*/ 1500827 w 3469189"/>
              <a:gd name="connsiteY71" fmla="*/ 1321205 h 1333121"/>
              <a:gd name="connsiteX72" fmla="*/ 1500827 w 3469189"/>
              <a:gd name="connsiteY72" fmla="*/ 918034 h 1333121"/>
              <a:gd name="connsiteX73" fmla="*/ 1407358 w 3469189"/>
              <a:gd name="connsiteY73" fmla="*/ 918034 h 1333121"/>
              <a:gd name="connsiteX74" fmla="*/ 1407358 w 3469189"/>
              <a:gd name="connsiteY74" fmla="*/ 1321205 h 1333121"/>
              <a:gd name="connsiteX75" fmla="*/ 1275798 w 3469189"/>
              <a:gd name="connsiteY75" fmla="*/ 1325177 h 1333121"/>
              <a:gd name="connsiteX76" fmla="*/ 1336021 w 3469189"/>
              <a:gd name="connsiteY76" fmla="*/ 1317233 h 1333121"/>
              <a:gd name="connsiteX77" fmla="*/ 1336021 w 3469189"/>
              <a:gd name="connsiteY77" fmla="*/ 1248572 h 1333121"/>
              <a:gd name="connsiteX78" fmla="*/ 1301160 w 3469189"/>
              <a:gd name="connsiteY78" fmla="*/ 1252544 h 1333121"/>
              <a:gd name="connsiteX79" fmla="*/ 1247301 w 3469189"/>
              <a:gd name="connsiteY79" fmla="*/ 1188612 h 1333121"/>
              <a:gd name="connsiteX80" fmla="*/ 1247301 w 3469189"/>
              <a:gd name="connsiteY80" fmla="*/ 991424 h 1333121"/>
              <a:gd name="connsiteX81" fmla="*/ 1328137 w 3469189"/>
              <a:gd name="connsiteY81" fmla="*/ 991424 h 1333121"/>
              <a:gd name="connsiteX82" fmla="*/ 1328137 w 3469189"/>
              <a:gd name="connsiteY82" fmla="*/ 918034 h 1333121"/>
              <a:gd name="connsiteX83" fmla="*/ 1247301 w 3469189"/>
              <a:gd name="connsiteY83" fmla="*/ 918034 h 1333121"/>
              <a:gd name="connsiteX84" fmla="*/ 1247301 w 3469189"/>
              <a:gd name="connsiteY84" fmla="*/ 799722 h 1333121"/>
              <a:gd name="connsiteX85" fmla="*/ 1155352 w 3469189"/>
              <a:gd name="connsiteY85" fmla="*/ 799722 h 1333121"/>
              <a:gd name="connsiteX86" fmla="*/ 1155352 w 3469189"/>
              <a:gd name="connsiteY86" fmla="*/ 918034 h 1333121"/>
              <a:gd name="connsiteX87" fmla="*/ 1086390 w 3469189"/>
              <a:gd name="connsiteY87" fmla="*/ 918034 h 1333121"/>
              <a:gd name="connsiteX88" fmla="*/ 1086390 w 3469189"/>
              <a:gd name="connsiteY88" fmla="*/ 991424 h 1333121"/>
              <a:gd name="connsiteX89" fmla="*/ 1155352 w 3469189"/>
              <a:gd name="connsiteY89" fmla="*/ 991424 h 1333121"/>
              <a:gd name="connsiteX90" fmla="*/ 1155352 w 3469189"/>
              <a:gd name="connsiteY90" fmla="*/ 1206014 h 1333121"/>
              <a:gd name="connsiteX91" fmla="*/ 1275798 w 3469189"/>
              <a:gd name="connsiteY91" fmla="*/ 1325177 h 1333121"/>
              <a:gd name="connsiteX92" fmla="*/ 878839 w 3469189"/>
              <a:gd name="connsiteY92" fmla="*/ 1333122 h 1333121"/>
              <a:gd name="connsiteX93" fmla="*/ 1057988 w 3469189"/>
              <a:gd name="connsiteY93" fmla="*/ 1202136 h 1333121"/>
              <a:gd name="connsiteX94" fmla="*/ 909805 w 3469189"/>
              <a:gd name="connsiteY94" fmla="*/ 1080608 h 1333121"/>
              <a:gd name="connsiteX95" fmla="*/ 860696 w 3469189"/>
              <a:gd name="connsiteY95" fmla="*/ 1069543 h 1333121"/>
              <a:gd name="connsiteX96" fmla="*/ 796483 w 3469189"/>
              <a:gd name="connsiteY96" fmla="*/ 1023012 h 1333121"/>
              <a:gd name="connsiteX97" fmla="*/ 866205 w 3469189"/>
              <a:gd name="connsiteY97" fmla="*/ 975630 h 1333121"/>
              <a:gd name="connsiteX98" fmla="*/ 949415 w 3469189"/>
              <a:gd name="connsiteY98" fmla="*/ 1026890 h 1333121"/>
              <a:gd name="connsiteX99" fmla="*/ 1043740 w 3469189"/>
              <a:gd name="connsiteY99" fmla="*/ 1026890 h 1333121"/>
              <a:gd name="connsiteX100" fmla="*/ 867060 w 3469189"/>
              <a:gd name="connsiteY100" fmla="*/ 906969 h 1333121"/>
              <a:gd name="connsiteX101" fmla="*/ 700639 w 3469189"/>
              <a:gd name="connsiteY101" fmla="*/ 1028497 h 1333121"/>
              <a:gd name="connsiteX102" fmla="*/ 836948 w 3469189"/>
              <a:gd name="connsiteY102" fmla="*/ 1148418 h 1333121"/>
              <a:gd name="connsiteX103" fmla="*/ 884538 w 3469189"/>
              <a:gd name="connsiteY103" fmla="*/ 1158632 h 1333121"/>
              <a:gd name="connsiteX104" fmla="*/ 962239 w 3469189"/>
              <a:gd name="connsiteY104" fmla="*/ 1211499 h 1333121"/>
              <a:gd name="connsiteX105" fmla="*/ 883778 w 3469189"/>
              <a:gd name="connsiteY105" fmla="*/ 1263610 h 1333121"/>
              <a:gd name="connsiteX106" fmla="*/ 787934 w 3469189"/>
              <a:gd name="connsiteY106" fmla="*/ 1195800 h 1333121"/>
              <a:gd name="connsiteX107" fmla="*/ 686486 w 3469189"/>
              <a:gd name="connsiteY107" fmla="*/ 1195800 h 1333121"/>
              <a:gd name="connsiteX108" fmla="*/ 878839 w 3469189"/>
              <a:gd name="connsiteY108" fmla="*/ 1333122 h 1333121"/>
              <a:gd name="connsiteX109" fmla="*/ 271764 w 3469189"/>
              <a:gd name="connsiteY109" fmla="*/ 1321205 h 1333121"/>
              <a:gd name="connsiteX110" fmla="*/ 366088 w 3469189"/>
              <a:gd name="connsiteY110" fmla="*/ 1321205 h 1333121"/>
              <a:gd name="connsiteX111" fmla="*/ 366088 w 3469189"/>
              <a:gd name="connsiteY111" fmla="*/ 1096402 h 1333121"/>
              <a:gd name="connsiteX112" fmla="*/ 457182 w 3469189"/>
              <a:gd name="connsiteY112" fmla="*/ 983574 h 1333121"/>
              <a:gd name="connsiteX113" fmla="*/ 523770 w 3469189"/>
              <a:gd name="connsiteY113" fmla="*/ 1060936 h 1333121"/>
              <a:gd name="connsiteX114" fmla="*/ 523770 w 3469189"/>
              <a:gd name="connsiteY114" fmla="*/ 1321300 h 1333121"/>
              <a:gd name="connsiteX115" fmla="*/ 618854 w 3469189"/>
              <a:gd name="connsiteY115" fmla="*/ 1321300 h 1333121"/>
              <a:gd name="connsiteX116" fmla="*/ 618854 w 3469189"/>
              <a:gd name="connsiteY116" fmla="*/ 1053087 h 1333121"/>
              <a:gd name="connsiteX117" fmla="*/ 484159 w 3469189"/>
              <a:gd name="connsiteY117" fmla="*/ 906307 h 1333121"/>
              <a:gd name="connsiteX118" fmla="*/ 363713 w 3469189"/>
              <a:gd name="connsiteY118" fmla="*/ 970239 h 1333121"/>
              <a:gd name="connsiteX119" fmla="*/ 363713 w 3469189"/>
              <a:gd name="connsiteY119" fmla="*/ 918129 h 1333121"/>
              <a:gd name="connsiteX120" fmla="*/ 271764 w 3469189"/>
              <a:gd name="connsiteY120" fmla="*/ 918129 h 1333121"/>
              <a:gd name="connsiteX121" fmla="*/ 271764 w 3469189"/>
              <a:gd name="connsiteY121" fmla="*/ 1321205 h 1333121"/>
              <a:gd name="connsiteX122" fmla="*/ 271764 w 3469189"/>
              <a:gd name="connsiteY122" fmla="*/ 1321205 h 1333121"/>
              <a:gd name="connsiteX123" fmla="*/ 65732 w 3469189"/>
              <a:gd name="connsiteY123" fmla="*/ 1321205 h 1333121"/>
              <a:gd name="connsiteX124" fmla="*/ 164806 w 3469189"/>
              <a:gd name="connsiteY124" fmla="*/ 1321205 h 1333121"/>
              <a:gd name="connsiteX125" fmla="*/ 164806 w 3469189"/>
              <a:gd name="connsiteY125" fmla="*/ 768890 h 1333121"/>
              <a:gd name="connsiteX126" fmla="*/ 65732 w 3469189"/>
              <a:gd name="connsiteY126" fmla="*/ 768890 h 1333121"/>
              <a:gd name="connsiteX127" fmla="*/ 65732 w 3469189"/>
              <a:gd name="connsiteY127" fmla="*/ 1321205 h 1333121"/>
              <a:gd name="connsiteX128" fmla="*/ 65732 w 3469189"/>
              <a:gd name="connsiteY128" fmla="*/ 1321205 h 1333121"/>
              <a:gd name="connsiteX129" fmla="*/ 3290040 w 3469189"/>
              <a:gd name="connsiteY129" fmla="*/ 579931 h 1333121"/>
              <a:gd name="connsiteX130" fmla="*/ 3469190 w 3469189"/>
              <a:gd name="connsiteY130" fmla="*/ 448945 h 1333121"/>
              <a:gd name="connsiteX131" fmla="*/ 3321007 w 3469189"/>
              <a:gd name="connsiteY131" fmla="*/ 327417 h 1333121"/>
              <a:gd name="connsiteX132" fmla="*/ 3271898 w 3469189"/>
              <a:gd name="connsiteY132" fmla="*/ 316352 h 1333121"/>
              <a:gd name="connsiteX133" fmla="*/ 3207685 w 3469189"/>
              <a:gd name="connsiteY133" fmla="*/ 269821 h 1333121"/>
              <a:gd name="connsiteX134" fmla="*/ 3277407 w 3469189"/>
              <a:gd name="connsiteY134" fmla="*/ 222534 h 1333121"/>
              <a:gd name="connsiteX135" fmla="*/ 3360617 w 3469189"/>
              <a:gd name="connsiteY135" fmla="*/ 273793 h 1333121"/>
              <a:gd name="connsiteX136" fmla="*/ 3454942 w 3469189"/>
              <a:gd name="connsiteY136" fmla="*/ 273793 h 1333121"/>
              <a:gd name="connsiteX137" fmla="*/ 3278262 w 3469189"/>
              <a:gd name="connsiteY137" fmla="*/ 153873 h 1333121"/>
              <a:gd name="connsiteX138" fmla="*/ 3111841 w 3469189"/>
              <a:gd name="connsiteY138" fmla="*/ 275401 h 1333121"/>
              <a:gd name="connsiteX139" fmla="*/ 3248151 w 3469189"/>
              <a:gd name="connsiteY139" fmla="*/ 395321 h 1333121"/>
              <a:gd name="connsiteX140" fmla="*/ 3295740 w 3469189"/>
              <a:gd name="connsiteY140" fmla="*/ 405535 h 1333121"/>
              <a:gd name="connsiteX141" fmla="*/ 3373441 w 3469189"/>
              <a:gd name="connsiteY141" fmla="*/ 458402 h 1333121"/>
              <a:gd name="connsiteX142" fmla="*/ 3294980 w 3469189"/>
              <a:gd name="connsiteY142" fmla="*/ 510513 h 1333121"/>
              <a:gd name="connsiteX143" fmla="*/ 3199136 w 3469189"/>
              <a:gd name="connsiteY143" fmla="*/ 442703 h 1333121"/>
              <a:gd name="connsiteX144" fmla="*/ 3097688 w 3469189"/>
              <a:gd name="connsiteY144" fmla="*/ 442703 h 1333121"/>
              <a:gd name="connsiteX145" fmla="*/ 3290040 w 3469189"/>
              <a:gd name="connsiteY145" fmla="*/ 579931 h 1333121"/>
              <a:gd name="connsiteX146" fmla="*/ 2747463 w 3469189"/>
              <a:gd name="connsiteY146" fmla="*/ 325052 h 1333121"/>
              <a:gd name="connsiteX147" fmla="*/ 2855276 w 3469189"/>
              <a:gd name="connsiteY147" fmla="*/ 228019 h 1333121"/>
              <a:gd name="connsiteX148" fmla="*/ 2962233 w 3469189"/>
              <a:gd name="connsiteY148" fmla="*/ 325052 h 1333121"/>
              <a:gd name="connsiteX149" fmla="*/ 2747463 w 3469189"/>
              <a:gd name="connsiteY149" fmla="*/ 325052 h 1333121"/>
              <a:gd name="connsiteX150" fmla="*/ 2859170 w 3469189"/>
              <a:gd name="connsiteY150" fmla="*/ 579931 h 1333121"/>
              <a:gd name="connsiteX151" fmla="*/ 3045444 w 3469189"/>
              <a:gd name="connsiteY151" fmla="*/ 463131 h 1333121"/>
              <a:gd name="connsiteX152" fmla="*/ 2945610 w 3469189"/>
              <a:gd name="connsiteY152" fmla="*/ 463131 h 1333121"/>
              <a:gd name="connsiteX153" fmla="*/ 2860785 w 3469189"/>
              <a:gd name="connsiteY153" fmla="*/ 505690 h 1333121"/>
              <a:gd name="connsiteX154" fmla="*/ 2745848 w 3469189"/>
              <a:gd name="connsiteY154" fmla="*/ 393619 h 1333121"/>
              <a:gd name="connsiteX155" fmla="*/ 3056462 w 3469189"/>
              <a:gd name="connsiteY155" fmla="*/ 393619 h 1333121"/>
              <a:gd name="connsiteX156" fmla="*/ 2852806 w 3469189"/>
              <a:gd name="connsiteY156" fmla="*/ 153022 h 1333121"/>
              <a:gd name="connsiteX157" fmla="*/ 2649909 w 3469189"/>
              <a:gd name="connsiteY157" fmla="*/ 367611 h 1333121"/>
              <a:gd name="connsiteX158" fmla="*/ 2859170 w 3469189"/>
              <a:gd name="connsiteY158" fmla="*/ 579931 h 1333121"/>
              <a:gd name="connsiteX159" fmla="*/ 2465536 w 3469189"/>
              <a:gd name="connsiteY159" fmla="*/ 62325 h 1333121"/>
              <a:gd name="connsiteX160" fmla="*/ 2527374 w 3469189"/>
              <a:gd name="connsiteY160" fmla="*/ 123893 h 1333121"/>
              <a:gd name="connsiteX161" fmla="*/ 2589211 w 3469189"/>
              <a:gd name="connsiteY161" fmla="*/ 62325 h 1333121"/>
              <a:gd name="connsiteX162" fmla="*/ 2527374 w 3469189"/>
              <a:gd name="connsiteY162" fmla="*/ 0 h 1333121"/>
              <a:gd name="connsiteX163" fmla="*/ 2465536 w 3469189"/>
              <a:gd name="connsiteY163" fmla="*/ 62325 h 1333121"/>
              <a:gd name="connsiteX164" fmla="*/ 2480639 w 3469189"/>
              <a:gd name="connsiteY164" fmla="*/ 568109 h 1333121"/>
              <a:gd name="connsiteX165" fmla="*/ 2574108 w 3469189"/>
              <a:gd name="connsiteY165" fmla="*/ 568109 h 1333121"/>
              <a:gd name="connsiteX166" fmla="*/ 2574108 w 3469189"/>
              <a:gd name="connsiteY166" fmla="*/ 164938 h 1333121"/>
              <a:gd name="connsiteX167" fmla="*/ 2480639 w 3469189"/>
              <a:gd name="connsiteY167" fmla="*/ 164938 h 1333121"/>
              <a:gd name="connsiteX168" fmla="*/ 2480639 w 3469189"/>
              <a:gd name="connsiteY168" fmla="*/ 568109 h 1333121"/>
              <a:gd name="connsiteX169" fmla="*/ 2183703 w 3469189"/>
              <a:gd name="connsiteY169" fmla="*/ 568109 h 1333121"/>
              <a:gd name="connsiteX170" fmla="*/ 2278027 w 3469189"/>
              <a:gd name="connsiteY170" fmla="*/ 568109 h 1333121"/>
              <a:gd name="connsiteX171" fmla="*/ 2278027 w 3469189"/>
              <a:gd name="connsiteY171" fmla="*/ 385864 h 1333121"/>
              <a:gd name="connsiteX172" fmla="*/ 2347749 w 3469189"/>
              <a:gd name="connsiteY172" fmla="*/ 249393 h 1333121"/>
              <a:gd name="connsiteX173" fmla="*/ 2419846 w 3469189"/>
              <a:gd name="connsiteY173" fmla="*/ 243056 h 1333121"/>
              <a:gd name="connsiteX174" fmla="*/ 2419846 w 3469189"/>
              <a:gd name="connsiteY174" fmla="*/ 153116 h 1333121"/>
              <a:gd name="connsiteX175" fmla="*/ 2275653 w 3469189"/>
              <a:gd name="connsiteY175" fmla="*/ 247785 h 1333121"/>
              <a:gd name="connsiteX176" fmla="*/ 2275653 w 3469189"/>
              <a:gd name="connsiteY176" fmla="*/ 164938 h 1333121"/>
              <a:gd name="connsiteX177" fmla="*/ 2183703 w 3469189"/>
              <a:gd name="connsiteY177" fmla="*/ 164938 h 1333121"/>
              <a:gd name="connsiteX178" fmla="*/ 2183703 w 3469189"/>
              <a:gd name="connsiteY178" fmla="*/ 568109 h 1333121"/>
              <a:gd name="connsiteX179" fmla="*/ 1778195 w 3469189"/>
              <a:gd name="connsiteY179" fmla="*/ 366098 h 1333121"/>
              <a:gd name="connsiteX180" fmla="*/ 1881258 w 3469189"/>
              <a:gd name="connsiteY180" fmla="*/ 228776 h 1333121"/>
              <a:gd name="connsiteX181" fmla="*/ 1987456 w 3469189"/>
              <a:gd name="connsiteY181" fmla="*/ 366098 h 1333121"/>
              <a:gd name="connsiteX182" fmla="*/ 1881258 w 3469189"/>
              <a:gd name="connsiteY182" fmla="*/ 504933 h 1333121"/>
              <a:gd name="connsiteX183" fmla="*/ 1778195 w 3469189"/>
              <a:gd name="connsiteY183" fmla="*/ 366098 h 1333121"/>
              <a:gd name="connsiteX184" fmla="*/ 1862925 w 3469189"/>
              <a:gd name="connsiteY184" fmla="*/ 579931 h 1333121"/>
              <a:gd name="connsiteX185" fmla="*/ 1985746 w 3469189"/>
              <a:gd name="connsiteY185" fmla="*/ 517606 h 1333121"/>
              <a:gd name="connsiteX186" fmla="*/ 1985746 w 3469189"/>
              <a:gd name="connsiteY186" fmla="*/ 568109 h 1333121"/>
              <a:gd name="connsiteX187" fmla="*/ 2080830 w 3469189"/>
              <a:gd name="connsiteY187" fmla="*/ 568109 h 1333121"/>
              <a:gd name="connsiteX188" fmla="*/ 2080830 w 3469189"/>
              <a:gd name="connsiteY188" fmla="*/ 164938 h 1333121"/>
              <a:gd name="connsiteX189" fmla="*/ 1985746 w 3469189"/>
              <a:gd name="connsiteY189" fmla="*/ 164938 h 1333121"/>
              <a:gd name="connsiteX190" fmla="*/ 1985746 w 3469189"/>
              <a:gd name="connsiteY190" fmla="*/ 217048 h 1333121"/>
              <a:gd name="connsiteX191" fmla="*/ 1862925 w 3469189"/>
              <a:gd name="connsiteY191" fmla="*/ 153116 h 1333121"/>
              <a:gd name="connsiteX192" fmla="*/ 1681496 w 3469189"/>
              <a:gd name="connsiteY192" fmla="*/ 366098 h 1333121"/>
              <a:gd name="connsiteX193" fmla="*/ 1862925 w 3469189"/>
              <a:gd name="connsiteY193" fmla="*/ 579931 h 1333121"/>
              <a:gd name="connsiteX194" fmla="*/ 1398049 w 3469189"/>
              <a:gd name="connsiteY194" fmla="*/ 579931 h 1333121"/>
              <a:gd name="connsiteX195" fmla="*/ 1512131 w 3469189"/>
              <a:gd name="connsiteY195" fmla="*/ 518363 h 1333121"/>
              <a:gd name="connsiteX196" fmla="*/ 1512131 w 3469189"/>
              <a:gd name="connsiteY196" fmla="*/ 568109 h 1333121"/>
              <a:gd name="connsiteX197" fmla="*/ 1604840 w 3469189"/>
              <a:gd name="connsiteY197" fmla="*/ 568109 h 1333121"/>
              <a:gd name="connsiteX198" fmla="*/ 1604840 w 3469189"/>
              <a:gd name="connsiteY198" fmla="*/ 164938 h 1333121"/>
              <a:gd name="connsiteX199" fmla="*/ 1510516 w 3469189"/>
              <a:gd name="connsiteY199" fmla="*/ 164938 h 1333121"/>
              <a:gd name="connsiteX200" fmla="*/ 1510516 w 3469189"/>
              <a:gd name="connsiteY200" fmla="*/ 388228 h 1333121"/>
              <a:gd name="connsiteX201" fmla="*/ 1425691 w 3469189"/>
              <a:gd name="connsiteY201" fmla="*/ 502663 h 1333121"/>
              <a:gd name="connsiteX202" fmla="*/ 1357488 w 3469189"/>
              <a:gd name="connsiteY202" fmla="*/ 417452 h 1333121"/>
              <a:gd name="connsiteX203" fmla="*/ 1357488 w 3469189"/>
              <a:gd name="connsiteY203" fmla="*/ 164938 h 1333121"/>
              <a:gd name="connsiteX204" fmla="*/ 1263164 w 3469189"/>
              <a:gd name="connsiteY204" fmla="*/ 164938 h 1333121"/>
              <a:gd name="connsiteX205" fmla="*/ 1263164 w 3469189"/>
              <a:gd name="connsiteY205" fmla="*/ 431543 h 1333121"/>
              <a:gd name="connsiteX206" fmla="*/ 1398049 w 3469189"/>
              <a:gd name="connsiteY206" fmla="*/ 579931 h 1333121"/>
              <a:gd name="connsiteX207" fmla="*/ 1136734 w 3469189"/>
              <a:gd name="connsiteY207" fmla="*/ 572081 h 1333121"/>
              <a:gd name="connsiteX208" fmla="*/ 1196957 w 3469189"/>
              <a:gd name="connsiteY208" fmla="*/ 564137 h 1333121"/>
              <a:gd name="connsiteX209" fmla="*/ 1196957 w 3469189"/>
              <a:gd name="connsiteY209" fmla="*/ 495476 h 1333121"/>
              <a:gd name="connsiteX210" fmla="*/ 1162096 w 3469189"/>
              <a:gd name="connsiteY210" fmla="*/ 499448 h 1333121"/>
              <a:gd name="connsiteX211" fmla="*/ 1108237 w 3469189"/>
              <a:gd name="connsiteY211" fmla="*/ 435515 h 1333121"/>
              <a:gd name="connsiteX212" fmla="*/ 1108237 w 3469189"/>
              <a:gd name="connsiteY212" fmla="*/ 238233 h 1333121"/>
              <a:gd name="connsiteX213" fmla="*/ 1189073 w 3469189"/>
              <a:gd name="connsiteY213" fmla="*/ 238233 h 1333121"/>
              <a:gd name="connsiteX214" fmla="*/ 1189073 w 3469189"/>
              <a:gd name="connsiteY214" fmla="*/ 164843 h 1333121"/>
              <a:gd name="connsiteX215" fmla="*/ 1108237 w 3469189"/>
              <a:gd name="connsiteY215" fmla="*/ 164843 h 1333121"/>
              <a:gd name="connsiteX216" fmla="*/ 1108237 w 3469189"/>
              <a:gd name="connsiteY216" fmla="*/ 46531 h 1333121"/>
              <a:gd name="connsiteX217" fmla="*/ 1016288 w 3469189"/>
              <a:gd name="connsiteY217" fmla="*/ 46531 h 1333121"/>
              <a:gd name="connsiteX218" fmla="*/ 1016288 w 3469189"/>
              <a:gd name="connsiteY218" fmla="*/ 164843 h 1333121"/>
              <a:gd name="connsiteX219" fmla="*/ 947326 w 3469189"/>
              <a:gd name="connsiteY219" fmla="*/ 164843 h 1333121"/>
              <a:gd name="connsiteX220" fmla="*/ 947326 w 3469189"/>
              <a:gd name="connsiteY220" fmla="*/ 238233 h 1333121"/>
              <a:gd name="connsiteX221" fmla="*/ 1016288 w 3469189"/>
              <a:gd name="connsiteY221" fmla="*/ 238233 h 1333121"/>
              <a:gd name="connsiteX222" fmla="*/ 1016288 w 3469189"/>
              <a:gd name="connsiteY222" fmla="*/ 452823 h 1333121"/>
              <a:gd name="connsiteX223" fmla="*/ 1136734 w 3469189"/>
              <a:gd name="connsiteY223" fmla="*/ 572081 h 1333121"/>
              <a:gd name="connsiteX224" fmla="*/ 734360 w 3469189"/>
              <a:gd name="connsiteY224" fmla="*/ 579931 h 1333121"/>
              <a:gd name="connsiteX225" fmla="*/ 919019 w 3469189"/>
              <a:gd name="connsiteY225" fmla="*/ 441095 h 1333121"/>
              <a:gd name="connsiteX226" fmla="*/ 825550 w 3469189"/>
              <a:gd name="connsiteY226" fmla="*/ 441095 h 1333121"/>
              <a:gd name="connsiteX227" fmla="*/ 735975 w 3469189"/>
              <a:gd name="connsiteY227" fmla="*/ 502663 h 1333121"/>
              <a:gd name="connsiteX228" fmla="*/ 632152 w 3469189"/>
              <a:gd name="connsiteY228" fmla="*/ 367706 h 1333121"/>
              <a:gd name="connsiteX229" fmla="*/ 738350 w 3469189"/>
              <a:gd name="connsiteY229" fmla="*/ 231235 h 1333121"/>
              <a:gd name="connsiteX230" fmla="*/ 825550 w 3469189"/>
              <a:gd name="connsiteY230" fmla="*/ 292803 h 1333121"/>
              <a:gd name="connsiteX231" fmla="*/ 918259 w 3469189"/>
              <a:gd name="connsiteY231" fmla="*/ 292803 h 1333121"/>
              <a:gd name="connsiteX232" fmla="*/ 736735 w 3469189"/>
              <a:gd name="connsiteY232" fmla="*/ 153967 h 1333121"/>
              <a:gd name="connsiteX233" fmla="*/ 533079 w 3469189"/>
              <a:gd name="connsiteY233" fmla="*/ 367800 h 1333121"/>
              <a:gd name="connsiteX234" fmla="*/ 734360 w 3469189"/>
              <a:gd name="connsiteY234" fmla="*/ 579931 h 1333121"/>
              <a:gd name="connsiteX235" fmla="*/ 172690 w 3469189"/>
              <a:gd name="connsiteY235" fmla="*/ 370070 h 1333121"/>
              <a:gd name="connsiteX236" fmla="*/ 209926 w 3469189"/>
              <a:gd name="connsiteY236" fmla="*/ 261971 h 1333121"/>
              <a:gd name="connsiteX237" fmla="*/ 259035 w 3469189"/>
              <a:gd name="connsiteY237" fmla="*/ 119164 h 1333121"/>
              <a:gd name="connsiteX238" fmla="*/ 259795 w 3469189"/>
              <a:gd name="connsiteY238" fmla="*/ 119164 h 1333121"/>
              <a:gd name="connsiteX239" fmla="*/ 308904 w 3469189"/>
              <a:gd name="connsiteY239" fmla="*/ 261215 h 1333121"/>
              <a:gd name="connsiteX240" fmla="*/ 346140 w 3469189"/>
              <a:gd name="connsiteY240" fmla="*/ 370070 h 1333121"/>
              <a:gd name="connsiteX241" fmla="*/ 172690 w 3469189"/>
              <a:gd name="connsiteY241" fmla="*/ 370070 h 1333121"/>
              <a:gd name="connsiteX242" fmla="*/ 0 w 3469189"/>
              <a:gd name="connsiteY242" fmla="*/ 568109 h 1333121"/>
              <a:gd name="connsiteX243" fmla="*/ 103823 w 3469189"/>
              <a:gd name="connsiteY243" fmla="*/ 568109 h 1333121"/>
              <a:gd name="connsiteX244" fmla="*/ 143433 w 3469189"/>
              <a:gd name="connsiteY244" fmla="*/ 452917 h 1333121"/>
              <a:gd name="connsiteX245" fmla="*/ 374827 w 3469189"/>
              <a:gd name="connsiteY245" fmla="*/ 452917 h 1333121"/>
              <a:gd name="connsiteX246" fmla="*/ 414437 w 3469189"/>
              <a:gd name="connsiteY246" fmla="*/ 568109 h 1333121"/>
              <a:gd name="connsiteX247" fmla="*/ 520635 w 3469189"/>
              <a:gd name="connsiteY247" fmla="*/ 568109 h 1333121"/>
              <a:gd name="connsiteX248" fmla="*/ 316124 w 3469189"/>
              <a:gd name="connsiteY248" fmla="*/ 15794 h 1333121"/>
              <a:gd name="connsiteX249" fmla="*/ 206791 w 3469189"/>
              <a:gd name="connsiteY249" fmla="*/ 15794 h 1333121"/>
              <a:gd name="connsiteX250" fmla="*/ 0 w 3469189"/>
              <a:gd name="connsiteY250" fmla="*/ 568109 h 1333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3469189" h="1333121">
                <a:moveTo>
                  <a:pt x="3092178" y="1327542"/>
                </a:moveTo>
                <a:cubicBezTo>
                  <a:pt x="3125425" y="1327542"/>
                  <a:pt x="3153161" y="1300683"/>
                  <a:pt x="3153161" y="1266731"/>
                </a:cubicBezTo>
                <a:cubicBezTo>
                  <a:pt x="3153161" y="1233629"/>
                  <a:pt x="3125425" y="1206770"/>
                  <a:pt x="3092178" y="1206770"/>
                </a:cubicBezTo>
                <a:cubicBezTo>
                  <a:pt x="3058837" y="1206770"/>
                  <a:pt x="3031100" y="1233629"/>
                  <a:pt x="3031100" y="1266731"/>
                </a:cubicBezTo>
                <a:cubicBezTo>
                  <a:pt x="3031100" y="1300777"/>
                  <a:pt x="3058837" y="1327542"/>
                  <a:pt x="3092178" y="1327542"/>
                </a:cubicBezTo>
                <a:moveTo>
                  <a:pt x="2665013" y="1078244"/>
                </a:moveTo>
                <a:cubicBezTo>
                  <a:pt x="2673752" y="1021404"/>
                  <a:pt x="2717352" y="981210"/>
                  <a:pt x="2772825" y="981210"/>
                </a:cubicBezTo>
                <a:cubicBezTo>
                  <a:pt x="2833048" y="981210"/>
                  <a:pt x="2871044" y="1019891"/>
                  <a:pt x="2879783" y="1078244"/>
                </a:cubicBezTo>
                <a:lnTo>
                  <a:pt x="2665013" y="1078244"/>
                </a:lnTo>
                <a:close/>
                <a:moveTo>
                  <a:pt x="2776720" y="1333122"/>
                </a:moveTo>
                <a:cubicBezTo>
                  <a:pt x="2876553" y="1333122"/>
                  <a:pt x="2941526" y="1284983"/>
                  <a:pt x="2962993" y="1216322"/>
                </a:cubicBezTo>
                <a:lnTo>
                  <a:pt x="2863160" y="1216322"/>
                </a:lnTo>
                <a:cubicBezTo>
                  <a:pt x="2850526" y="1239966"/>
                  <a:pt x="2824309" y="1258881"/>
                  <a:pt x="2778334" y="1258881"/>
                </a:cubicBezTo>
                <a:cubicBezTo>
                  <a:pt x="2714977" y="1258881"/>
                  <a:pt x="2668147" y="1213863"/>
                  <a:pt x="2663398" y="1146810"/>
                </a:cubicBezTo>
                <a:lnTo>
                  <a:pt x="2974012" y="1146810"/>
                </a:lnTo>
                <a:cubicBezTo>
                  <a:pt x="2972397" y="993789"/>
                  <a:pt x="2891657" y="906213"/>
                  <a:pt x="2770355" y="906213"/>
                </a:cubicBezTo>
                <a:cubicBezTo>
                  <a:pt x="2660168" y="906213"/>
                  <a:pt x="2567459" y="994545"/>
                  <a:pt x="2567459" y="1120802"/>
                </a:cubicBezTo>
                <a:cubicBezTo>
                  <a:pt x="2567554" y="1247910"/>
                  <a:pt x="2647535" y="1333122"/>
                  <a:pt x="2776720" y="1333122"/>
                </a:cubicBezTo>
                <a:moveTo>
                  <a:pt x="2467721" y="1325177"/>
                </a:moveTo>
                <a:cubicBezTo>
                  <a:pt x="2489948" y="1325177"/>
                  <a:pt x="2514455" y="1322056"/>
                  <a:pt x="2527944" y="1317233"/>
                </a:cubicBezTo>
                <a:lnTo>
                  <a:pt x="2527944" y="1248572"/>
                </a:lnTo>
                <a:cubicBezTo>
                  <a:pt x="2514455" y="1250937"/>
                  <a:pt x="2502581" y="1252544"/>
                  <a:pt x="2493082" y="1252544"/>
                </a:cubicBezTo>
                <a:cubicBezTo>
                  <a:pt x="2453472" y="1252544"/>
                  <a:pt x="2439224" y="1230414"/>
                  <a:pt x="2439224" y="1188612"/>
                </a:cubicBezTo>
                <a:lnTo>
                  <a:pt x="2439224" y="991424"/>
                </a:lnTo>
                <a:lnTo>
                  <a:pt x="2520059" y="991424"/>
                </a:lnTo>
                <a:lnTo>
                  <a:pt x="2520059" y="918034"/>
                </a:lnTo>
                <a:lnTo>
                  <a:pt x="2439224" y="918034"/>
                </a:lnTo>
                <a:lnTo>
                  <a:pt x="2439224" y="799722"/>
                </a:lnTo>
                <a:lnTo>
                  <a:pt x="2347274" y="799722"/>
                </a:lnTo>
                <a:lnTo>
                  <a:pt x="2347274" y="918034"/>
                </a:lnTo>
                <a:lnTo>
                  <a:pt x="2278312" y="918034"/>
                </a:lnTo>
                <a:lnTo>
                  <a:pt x="2278312" y="991424"/>
                </a:lnTo>
                <a:lnTo>
                  <a:pt x="2347274" y="991424"/>
                </a:lnTo>
                <a:lnTo>
                  <a:pt x="2347274" y="1206014"/>
                </a:lnTo>
                <a:cubicBezTo>
                  <a:pt x="2347274" y="1295197"/>
                  <a:pt x="2401893" y="1325177"/>
                  <a:pt x="2467721" y="1325177"/>
                </a:cubicBezTo>
                <a:moveTo>
                  <a:pt x="2012058" y="1333122"/>
                </a:moveTo>
                <a:cubicBezTo>
                  <a:pt x="2065157" y="1333122"/>
                  <a:pt x="2104007" y="1311843"/>
                  <a:pt x="2126140" y="1271554"/>
                </a:cubicBezTo>
                <a:lnTo>
                  <a:pt x="2126140" y="1321300"/>
                </a:lnTo>
                <a:lnTo>
                  <a:pt x="2218849" y="1321300"/>
                </a:lnTo>
                <a:lnTo>
                  <a:pt x="2218849" y="918129"/>
                </a:lnTo>
                <a:lnTo>
                  <a:pt x="2124525" y="918129"/>
                </a:lnTo>
                <a:lnTo>
                  <a:pt x="2124525" y="1141419"/>
                </a:lnTo>
                <a:cubicBezTo>
                  <a:pt x="2124525" y="1222659"/>
                  <a:pt x="2081685" y="1255854"/>
                  <a:pt x="2039700" y="1255854"/>
                </a:cubicBezTo>
                <a:cubicBezTo>
                  <a:pt x="1992110" y="1255854"/>
                  <a:pt x="1971593" y="1224267"/>
                  <a:pt x="1971593" y="1170643"/>
                </a:cubicBezTo>
                <a:lnTo>
                  <a:pt x="1971593" y="918129"/>
                </a:lnTo>
                <a:lnTo>
                  <a:pt x="1877269" y="918129"/>
                </a:lnTo>
                <a:lnTo>
                  <a:pt x="1877269" y="1184829"/>
                </a:lnTo>
                <a:cubicBezTo>
                  <a:pt x="1877269" y="1282619"/>
                  <a:pt x="1932742" y="1333122"/>
                  <a:pt x="2012058" y="1333122"/>
                </a:cubicBezTo>
                <a:moveTo>
                  <a:pt x="1749698" y="1325177"/>
                </a:moveTo>
                <a:cubicBezTo>
                  <a:pt x="1771926" y="1325177"/>
                  <a:pt x="1796433" y="1322056"/>
                  <a:pt x="1809921" y="1317233"/>
                </a:cubicBezTo>
                <a:lnTo>
                  <a:pt x="1809921" y="1248572"/>
                </a:lnTo>
                <a:cubicBezTo>
                  <a:pt x="1796433" y="1250937"/>
                  <a:pt x="1784559" y="1252544"/>
                  <a:pt x="1775060" y="1252544"/>
                </a:cubicBezTo>
                <a:cubicBezTo>
                  <a:pt x="1735450" y="1252544"/>
                  <a:pt x="1721201" y="1230414"/>
                  <a:pt x="1721201" y="1188612"/>
                </a:cubicBezTo>
                <a:lnTo>
                  <a:pt x="1721201" y="991424"/>
                </a:lnTo>
                <a:lnTo>
                  <a:pt x="1802037" y="991424"/>
                </a:lnTo>
                <a:lnTo>
                  <a:pt x="1802037" y="918034"/>
                </a:lnTo>
                <a:lnTo>
                  <a:pt x="1721201" y="918034"/>
                </a:lnTo>
                <a:lnTo>
                  <a:pt x="1721201" y="799722"/>
                </a:lnTo>
                <a:lnTo>
                  <a:pt x="1629252" y="799722"/>
                </a:lnTo>
                <a:lnTo>
                  <a:pt x="1629252" y="918034"/>
                </a:lnTo>
                <a:lnTo>
                  <a:pt x="1560290" y="918034"/>
                </a:lnTo>
                <a:lnTo>
                  <a:pt x="1560290" y="991424"/>
                </a:lnTo>
                <a:lnTo>
                  <a:pt x="1629252" y="991424"/>
                </a:lnTo>
                <a:lnTo>
                  <a:pt x="1629252" y="1206014"/>
                </a:lnTo>
                <a:cubicBezTo>
                  <a:pt x="1629252" y="1295197"/>
                  <a:pt x="1683966" y="1325177"/>
                  <a:pt x="1749698" y="1325177"/>
                </a:cubicBezTo>
                <a:moveTo>
                  <a:pt x="1392349" y="815516"/>
                </a:moveTo>
                <a:cubicBezTo>
                  <a:pt x="1392349" y="849468"/>
                  <a:pt x="1420086" y="877084"/>
                  <a:pt x="1454187" y="877084"/>
                </a:cubicBezTo>
                <a:cubicBezTo>
                  <a:pt x="1488288" y="877084"/>
                  <a:pt x="1516025" y="849468"/>
                  <a:pt x="1516025" y="815516"/>
                </a:cubicBezTo>
                <a:cubicBezTo>
                  <a:pt x="1516025" y="780807"/>
                  <a:pt x="1488288" y="753191"/>
                  <a:pt x="1454187" y="753191"/>
                </a:cubicBezTo>
                <a:cubicBezTo>
                  <a:pt x="1420086" y="753191"/>
                  <a:pt x="1392349" y="780712"/>
                  <a:pt x="1392349" y="815516"/>
                </a:cubicBezTo>
                <a:moveTo>
                  <a:pt x="1407358" y="1321205"/>
                </a:moveTo>
                <a:lnTo>
                  <a:pt x="1500827" y="1321205"/>
                </a:lnTo>
                <a:lnTo>
                  <a:pt x="1500827" y="918034"/>
                </a:lnTo>
                <a:lnTo>
                  <a:pt x="1407358" y="918034"/>
                </a:lnTo>
                <a:lnTo>
                  <a:pt x="1407358" y="1321205"/>
                </a:lnTo>
                <a:close/>
                <a:moveTo>
                  <a:pt x="1275798" y="1325177"/>
                </a:moveTo>
                <a:cubicBezTo>
                  <a:pt x="1298025" y="1325177"/>
                  <a:pt x="1322532" y="1322056"/>
                  <a:pt x="1336021" y="1317233"/>
                </a:cubicBezTo>
                <a:lnTo>
                  <a:pt x="1336021" y="1248572"/>
                </a:lnTo>
                <a:cubicBezTo>
                  <a:pt x="1322532" y="1250937"/>
                  <a:pt x="1310659" y="1252544"/>
                  <a:pt x="1301160" y="1252544"/>
                </a:cubicBezTo>
                <a:cubicBezTo>
                  <a:pt x="1261549" y="1252544"/>
                  <a:pt x="1247301" y="1230414"/>
                  <a:pt x="1247301" y="1188612"/>
                </a:cubicBezTo>
                <a:lnTo>
                  <a:pt x="1247301" y="991424"/>
                </a:lnTo>
                <a:lnTo>
                  <a:pt x="1328137" y="991424"/>
                </a:lnTo>
                <a:lnTo>
                  <a:pt x="1328137" y="918034"/>
                </a:lnTo>
                <a:lnTo>
                  <a:pt x="1247301" y="918034"/>
                </a:lnTo>
                <a:lnTo>
                  <a:pt x="1247301" y="799722"/>
                </a:lnTo>
                <a:lnTo>
                  <a:pt x="1155352" y="799722"/>
                </a:lnTo>
                <a:lnTo>
                  <a:pt x="1155352" y="918034"/>
                </a:lnTo>
                <a:lnTo>
                  <a:pt x="1086390" y="918034"/>
                </a:lnTo>
                <a:lnTo>
                  <a:pt x="1086390" y="991424"/>
                </a:lnTo>
                <a:lnTo>
                  <a:pt x="1155352" y="991424"/>
                </a:lnTo>
                <a:lnTo>
                  <a:pt x="1155352" y="1206014"/>
                </a:lnTo>
                <a:cubicBezTo>
                  <a:pt x="1155352" y="1295197"/>
                  <a:pt x="1210065" y="1325177"/>
                  <a:pt x="1275798" y="1325177"/>
                </a:cubicBezTo>
                <a:moveTo>
                  <a:pt x="878839" y="1333122"/>
                </a:moveTo>
                <a:cubicBezTo>
                  <a:pt x="981047" y="1333122"/>
                  <a:pt x="1057988" y="1282619"/>
                  <a:pt x="1057988" y="1202136"/>
                </a:cubicBezTo>
                <a:cubicBezTo>
                  <a:pt x="1057988" y="1131962"/>
                  <a:pt x="999380" y="1100374"/>
                  <a:pt x="909805" y="1080608"/>
                </a:cubicBezTo>
                <a:lnTo>
                  <a:pt x="860696" y="1069543"/>
                </a:lnTo>
                <a:cubicBezTo>
                  <a:pt x="815481" y="1060085"/>
                  <a:pt x="796483" y="1049020"/>
                  <a:pt x="796483" y="1023012"/>
                </a:cubicBezTo>
                <a:cubicBezTo>
                  <a:pt x="796483" y="993789"/>
                  <a:pt x="825835" y="975630"/>
                  <a:pt x="866205" y="975630"/>
                </a:cubicBezTo>
                <a:cubicBezTo>
                  <a:pt x="911420" y="975630"/>
                  <a:pt x="939917" y="994545"/>
                  <a:pt x="949415" y="1026890"/>
                </a:cubicBezTo>
                <a:lnTo>
                  <a:pt x="1043740" y="1026890"/>
                </a:lnTo>
                <a:cubicBezTo>
                  <a:pt x="1034241" y="961444"/>
                  <a:pt x="974778" y="906969"/>
                  <a:pt x="867060" y="906969"/>
                </a:cubicBezTo>
                <a:cubicBezTo>
                  <a:pt x="768841" y="906969"/>
                  <a:pt x="700639" y="957472"/>
                  <a:pt x="700639" y="1028497"/>
                </a:cubicBezTo>
                <a:cubicBezTo>
                  <a:pt x="700639" y="1095551"/>
                  <a:pt x="748989" y="1129503"/>
                  <a:pt x="836948" y="1148418"/>
                </a:cubicBezTo>
                <a:lnTo>
                  <a:pt x="884538" y="1158632"/>
                </a:lnTo>
                <a:cubicBezTo>
                  <a:pt x="941626" y="1170454"/>
                  <a:pt x="962239" y="1183883"/>
                  <a:pt x="962239" y="1211499"/>
                </a:cubicBezTo>
                <a:cubicBezTo>
                  <a:pt x="962239" y="1244600"/>
                  <a:pt x="929753" y="1263610"/>
                  <a:pt x="883778" y="1263610"/>
                </a:cubicBezTo>
                <a:cubicBezTo>
                  <a:pt x="825930" y="1263610"/>
                  <a:pt x="795058" y="1235994"/>
                  <a:pt x="787934" y="1195800"/>
                </a:cubicBezTo>
                <a:lnTo>
                  <a:pt x="686486" y="1195800"/>
                </a:lnTo>
                <a:cubicBezTo>
                  <a:pt x="692565" y="1276282"/>
                  <a:pt x="761527" y="1333122"/>
                  <a:pt x="878839" y="1333122"/>
                </a:cubicBezTo>
                <a:moveTo>
                  <a:pt x="271764" y="1321205"/>
                </a:moveTo>
                <a:lnTo>
                  <a:pt x="366088" y="1321205"/>
                </a:lnTo>
                <a:lnTo>
                  <a:pt x="366088" y="1096402"/>
                </a:lnTo>
                <a:cubicBezTo>
                  <a:pt x="366088" y="1016676"/>
                  <a:pt x="410448" y="983574"/>
                  <a:pt x="457182" y="983574"/>
                </a:cubicBezTo>
                <a:cubicBezTo>
                  <a:pt x="506292" y="983574"/>
                  <a:pt x="523770" y="1016676"/>
                  <a:pt x="523770" y="1060936"/>
                </a:cubicBezTo>
                <a:lnTo>
                  <a:pt x="523770" y="1321300"/>
                </a:lnTo>
                <a:lnTo>
                  <a:pt x="618854" y="1321300"/>
                </a:lnTo>
                <a:lnTo>
                  <a:pt x="618854" y="1053087"/>
                </a:lnTo>
                <a:cubicBezTo>
                  <a:pt x="618854" y="958418"/>
                  <a:pt x="565755" y="906307"/>
                  <a:pt x="484159" y="906307"/>
                </a:cubicBezTo>
                <a:cubicBezTo>
                  <a:pt x="425551" y="906307"/>
                  <a:pt x="385086" y="936287"/>
                  <a:pt x="363713" y="970239"/>
                </a:cubicBezTo>
                <a:lnTo>
                  <a:pt x="363713" y="918129"/>
                </a:lnTo>
                <a:lnTo>
                  <a:pt x="271764" y="918129"/>
                </a:lnTo>
                <a:lnTo>
                  <a:pt x="271764" y="1321205"/>
                </a:lnTo>
                <a:lnTo>
                  <a:pt x="271764" y="1321205"/>
                </a:lnTo>
                <a:close/>
                <a:moveTo>
                  <a:pt x="65732" y="1321205"/>
                </a:moveTo>
                <a:lnTo>
                  <a:pt x="164806" y="1321205"/>
                </a:lnTo>
                <a:lnTo>
                  <a:pt x="164806" y="768890"/>
                </a:lnTo>
                <a:lnTo>
                  <a:pt x="65732" y="768890"/>
                </a:lnTo>
                <a:lnTo>
                  <a:pt x="65732" y="1321205"/>
                </a:lnTo>
                <a:lnTo>
                  <a:pt x="65732" y="1321205"/>
                </a:lnTo>
                <a:close/>
                <a:moveTo>
                  <a:pt x="3290040" y="579931"/>
                </a:moveTo>
                <a:cubicBezTo>
                  <a:pt x="3392249" y="579931"/>
                  <a:pt x="3469190" y="529428"/>
                  <a:pt x="3469190" y="448945"/>
                </a:cubicBezTo>
                <a:cubicBezTo>
                  <a:pt x="3469190" y="378771"/>
                  <a:pt x="3410582" y="347183"/>
                  <a:pt x="3321007" y="327417"/>
                </a:cubicBezTo>
                <a:lnTo>
                  <a:pt x="3271898" y="316352"/>
                </a:lnTo>
                <a:cubicBezTo>
                  <a:pt x="3226683" y="306894"/>
                  <a:pt x="3207685" y="295829"/>
                  <a:pt x="3207685" y="269821"/>
                </a:cubicBezTo>
                <a:cubicBezTo>
                  <a:pt x="3207685" y="240597"/>
                  <a:pt x="3237037" y="222534"/>
                  <a:pt x="3277407" y="222534"/>
                </a:cubicBezTo>
                <a:cubicBezTo>
                  <a:pt x="3322622" y="222534"/>
                  <a:pt x="3351119" y="241449"/>
                  <a:pt x="3360617" y="273793"/>
                </a:cubicBezTo>
                <a:lnTo>
                  <a:pt x="3454942" y="273793"/>
                </a:lnTo>
                <a:cubicBezTo>
                  <a:pt x="3445443" y="208348"/>
                  <a:pt x="3385979" y="153873"/>
                  <a:pt x="3278262" y="153873"/>
                </a:cubicBezTo>
                <a:cubicBezTo>
                  <a:pt x="3179948" y="153873"/>
                  <a:pt x="3111841" y="204375"/>
                  <a:pt x="3111841" y="275401"/>
                </a:cubicBezTo>
                <a:cubicBezTo>
                  <a:pt x="3111841" y="342454"/>
                  <a:pt x="3160191" y="376406"/>
                  <a:pt x="3248151" y="395321"/>
                </a:cubicBezTo>
                <a:lnTo>
                  <a:pt x="3295740" y="405535"/>
                </a:lnTo>
                <a:cubicBezTo>
                  <a:pt x="3352828" y="417357"/>
                  <a:pt x="3373441" y="430787"/>
                  <a:pt x="3373441" y="458402"/>
                </a:cubicBezTo>
                <a:cubicBezTo>
                  <a:pt x="3373441" y="491504"/>
                  <a:pt x="3340955" y="510513"/>
                  <a:pt x="3294980" y="510513"/>
                </a:cubicBezTo>
                <a:cubicBezTo>
                  <a:pt x="3237132" y="510513"/>
                  <a:pt x="3206260" y="482897"/>
                  <a:pt x="3199136" y="442703"/>
                </a:cubicBezTo>
                <a:lnTo>
                  <a:pt x="3097688" y="442703"/>
                </a:lnTo>
                <a:cubicBezTo>
                  <a:pt x="3103862" y="523091"/>
                  <a:pt x="3172729" y="579931"/>
                  <a:pt x="3290040" y="579931"/>
                </a:cubicBezTo>
                <a:moveTo>
                  <a:pt x="2747463" y="325052"/>
                </a:moveTo>
                <a:cubicBezTo>
                  <a:pt x="2756202" y="268213"/>
                  <a:pt x="2799802" y="228019"/>
                  <a:pt x="2855276" y="228019"/>
                </a:cubicBezTo>
                <a:cubicBezTo>
                  <a:pt x="2915499" y="228019"/>
                  <a:pt x="2953494" y="266700"/>
                  <a:pt x="2962233" y="325052"/>
                </a:cubicBezTo>
                <a:lnTo>
                  <a:pt x="2747463" y="325052"/>
                </a:lnTo>
                <a:close/>
                <a:moveTo>
                  <a:pt x="2859170" y="579931"/>
                </a:moveTo>
                <a:cubicBezTo>
                  <a:pt x="2959004" y="579931"/>
                  <a:pt x="3023976" y="531792"/>
                  <a:pt x="3045444" y="463131"/>
                </a:cubicBezTo>
                <a:lnTo>
                  <a:pt x="2945610" y="463131"/>
                </a:lnTo>
                <a:cubicBezTo>
                  <a:pt x="2932977" y="486775"/>
                  <a:pt x="2906760" y="505690"/>
                  <a:pt x="2860785" y="505690"/>
                </a:cubicBezTo>
                <a:cubicBezTo>
                  <a:pt x="2797427" y="505690"/>
                  <a:pt x="2750598" y="460672"/>
                  <a:pt x="2745848" y="393619"/>
                </a:cubicBezTo>
                <a:lnTo>
                  <a:pt x="3056462" y="393619"/>
                </a:lnTo>
                <a:cubicBezTo>
                  <a:pt x="3054848" y="240597"/>
                  <a:pt x="2974012" y="153022"/>
                  <a:pt x="2852806" y="153022"/>
                </a:cubicBezTo>
                <a:cubicBezTo>
                  <a:pt x="2742619" y="153022"/>
                  <a:pt x="2649909" y="241354"/>
                  <a:pt x="2649909" y="367611"/>
                </a:cubicBezTo>
                <a:cubicBezTo>
                  <a:pt x="2650004" y="494719"/>
                  <a:pt x="2729985" y="579931"/>
                  <a:pt x="2859170" y="579931"/>
                </a:cubicBezTo>
                <a:moveTo>
                  <a:pt x="2465536" y="62325"/>
                </a:moveTo>
                <a:cubicBezTo>
                  <a:pt x="2465536" y="96277"/>
                  <a:pt x="2493273" y="123893"/>
                  <a:pt x="2527374" y="123893"/>
                </a:cubicBezTo>
                <a:cubicBezTo>
                  <a:pt x="2561475" y="123893"/>
                  <a:pt x="2589211" y="96277"/>
                  <a:pt x="2589211" y="62325"/>
                </a:cubicBezTo>
                <a:cubicBezTo>
                  <a:pt x="2589211" y="27616"/>
                  <a:pt x="2561475" y="0"/>
                  <a:pt x="2527374" y="0"/>
                </a:cubicBezTo>
                <a:cubicBezTo>
                  <a:pt x="2493273" y="0"/>
                  <a:pt x="2465536" y="27616"/>
                  <a:pt x="2465536" y="62325"/>
                </a:cubicBezTo>
                <a:moveTo>
                  <a:pt x="2480639" y="568109"/>
                </a:moveTo>
                <a:lnTo>
                  <a:pt x="2574108" y="568109"/>
                </a:lnTo>
                <a:lnTo>
                  <a:pt x="2574108" y="164938"/>
                </a:lnTo>
                <a:lnTo>
                  <a:pt x="2480639" y="164938"/>
                </a:lnTo>
                <a:lnTo>
                  <a:pt x="2480639" y="568109"/>
                </a:lnTo>
                <a:close/>
                <a:moveTo>
                  <a:pt x="2183703" y="568109"/>
                </a:moveTo>
                <a:lnTo>
                  <a:pt x="2278027" y="568109"/>
                </a:lnTo>
                <a:lnTo>
                  <a:pt x="2278027" y="385864"/>
                </a:lnTo>
                <a:cubicBezTo>
                  <a:pt x="2278027" y="314082"/>
                  <a:pt x="2298640" y="266700"/>
                  <a:pt x="2347749" y="249393"/>
                </a:cubicBezTo>
                <a:cubicBezTo>
                  <a:pt x="2367602" y="242300"/>
                  <a:pt x="2391349" y="240692"/>
                  <a:pt x="2419846" y="243056"/>
                </a:cubicBezTo>
                <a:lnTo>
                  <a:pt x="2419846" y="153116"/>
                </a:lnTo>
                <a:cubicBezTo>
                  <a:pt x="2349269" y="149144"/>
                  <a:pt x="2301775" y="176003"/>
                  <a:pt x="2275653" y="247785"/>
                </a:cubicBezTo>
                <a:lnTo>
                  <a:pt x="2275653" y="164938"/>
                </a:lnTo>
                <a:lnTo>
                  <a:pt x="2183703" y="164938"/>
                </a:lnTo>
                <a:lnTo>
                  <a:pt x="2183703" y="568109"/>
                </a:lnTo>
                <a:close/>
                <a:moveTo>
                  <a:pt x="1778195" y="366098"/>
                </a:moveTo>
                <a:cubicBezTo>
                  <a:pt x="1778195" y="282494"/>
                  <a:pt x="1814671" y="228776"/>
                  <a:pt x="1881258" y="228776"/>
                </a:cubicBezTo>
                <a:cubicBezTo>
                  <a:pt x="1943856" y="228776"/>
                  <a:pt x="1987456" y="286372"/>
                  <a:pt x="1987456" y="366098"/>
                </a:cubicBezTo>
                <a:cubicBezTo>
                  <a:pt x="1987456" y="446581"/>
                  <a:pt x="1943856" y="504933"/>
                  <a:pt x="1881258" y="504933"/>
                </a:cubicBezTo>
                <a:cubicBezTo>
                  <a:pt x="1814576" y="504933"/>
                  <a:pt x="1778195" y="450553"/>
                  <a:pt x="1778195" y="366098"/>
                </a:cubicBezTo>
                <a:moveTo>
                  <a:pt x="1862925" y="579931"/>
                </a:moveTo>
                <a:cubicBezTo>
                  <a:pt x="1921533" y="579931"/>
                  <a:pt x="1964373" y="553923"/>
                  <a:pt x="1985746" y="517606"/>
                </a:cubicBezTo>
                <a:lnTo>
                  <a:pt x="1985746" y="568109"/>
                </a:lnTo>
                <a:lnTo>
                  <a:pt x="2080830" y="568109"/>
                </a:lnTo>
                <a:lnTo>
                  <a:pt x="2080830" y="164938"/>
                </a:lnTo>
                <a:lnTo>
                  <a:pt x="1985746" y="164938"/>
                </a:lnTo>
                <a:lnTo>
                  <a:pt x="1985746" y="217048"/>
                </a:lnTo>
                <a:cubicBezTo>
                  <a:pt x="1964373" y="180732"/>
                  <a:pt x="1921533" y="153116"/>
                  <a:pt x="1862925" y="153116"/>
                </a:cubicBezTo>
                <a:cubicBezTo>
                  <a:pt x="1759862" y="153116"/>
                  <a:pt x="1681496" y="233599"/>
                  <a:pt x="1681496" y="366098"/>
                </a:cubicBezTo>
                <a:cubicBezTo>
                  <a:pt x="1681496" y="498597"/>
                  <a:pt x="1759957" y="579931"/>
                  <a:pt x="1862925" y="579931"/>
                </a:cubicBezTo>
                <a:moveTo>
                  <a:pt x="1398049" y="579931"/>
                </a:moveTo>
                <a:cubicBezTo>
                  <a:pt x="1451148" y="579931"/>
                  <a:pt x="1489998" y="558651"/>
                  <a:pt x="1512131" y="518363"/>
                </a:cubicBezTo>
                <a:lnTo>
                  <a:pt x="1512131" y="568109"/>
                </a:lnTo>
                <a:lnTo>
                  <a:pt x="1604840" y="568109"/>
                </a:lnTo>
                <a:lnTo>
                  <a:pt x="1604840" y="164938"/>
                </a:lnTo>
                <a:lnTo>
                  <a:pt x="1510516" y="164938"/>
                </a:lnTo>
                <a:lnTo>
                  <a:pt x="1510516" y="388228"/>
                </a:lnTo>
                <a:cubicBezTo>
                  <a:pt x="1510516" y="469468"/>
                  <a:pt x="1467771" y="502663"/>
                  <a:pt x="1425691" y="502663"/>
                </a:cubicBezTo>
                <a:cubicBezTo>
                  <a:pt x="1378101" y="502663"/>
                  <a:pt x="1357488" y="471075"/>
                  <a:pt x="1357488" y="417452"/>
                </a:cubicBezTo>
                <a:lnTo>
                  <a:pt x="1357488" y="164938"/>
                </a:lnTo>
                <a:lnTo>
                  <a:pt x="1263164" y="164938"/>
                </a:lnTo>
                <a:lnTo>
                  <a:pt x="1263164" y="431543"/>
                </a:lnTo>
                <a:cubicBezTo>
                  <a:pt x="1263259" y="529428"/>
                  <a:pt x="1318733" y="579931"/>
                  <a:pt x="1398049" y="579931"/>
                </a:cubicBezTo>
                <a:moveTo>
                  <a:pt x="1136734" y="572081"/>
                </a:moveTo>
                <a:cubicBezTo>
                  <a:pt x="1158961" y="572081"/>
                  <a:pt x="1183468" y="568960"/>
                  <a:pt x="1196957" y="564137"/>
                </a:cubicBezTo>
                <a:lnTo>
                  <a:pt x="1196957" y="495476"/>
                </a:lnTo>
                <a:cubicBezTo>
                  <a:pt x="1183468" y="497840"/>
                  <a:pt x="1171595" y="499448"/>
                  <a:pt x="1162096" y="499448"/>
                </a:cubicBezTo>
                <a:cubicBezTo>
                  <a:pt x="1122486" y="499448"/>
                  <a:pt x="1108237" y="477412"/>
                  <a:pt x="1108237" y="435515"/>
                </a:cubicBezTo>
                <a:lnTo>
                  <a:pt x="1108237" y="238233"/>
                </a:lnTo>
                <a:lnTo>
                  <a:pt x="1189073" y="238233"/>
                </a:lnTo>
                <a:lnTo>
                  <a:pt x="1189073" y="164843"/>
                </a:lnTo>
                <a:lnTo>
                  <a:pt x="1108237" y="164843"/>
                </a:lnTo>
                <a:lnTo>
                  <a:pt x="1108237" y="46531"/>
                </a:lnTo>
                <a:lnTo>
                  <a:pt x="1016288" y="46531"/>
                </a:lnTo>
                <a:lnTo>
                  <a:pt x="1016288" y="164843"/>
                </a:lnTo>
                <a:lnTo>
                  <a:pt x="947326" y="164843"/>
                </a:lnTo>
                <a:lnTo>
                  <a:pt x="947326" y="238233"/>
                </a:lnTo>
                <a:lnTo>
                  <a:pt x="1016288" y="238233"/>
                </a:lnTo>
                <a:lnTo>
                  <a:pt x="1016288" y="452823"/>
                </a:lnTo>
                <a:cubicBezTo>
                  <a:pt x="1016288" y="542101"/>
                  <a:pt x="1070906" y="572081"/>
                  <a:pt x="1136734" y="572081"/>
                </a:cubicBezTo>
                <a:moveTo>
                  <a:pt x="734360" y="579931"/>
                </a:moveTo>
                <a:cubicBezTo>
                  <a:pt x="840558" y="579931"/>
                  <a:pt x="907905" y="515998"/>
                  <a:pt x="919019" y="441095"/>
                </a:cubicBezTo>
                <a:lnTo>
                  <a:pt x="825550" y="441095"/>
                </a:lnTo>
                <a:cubicBezTo>
                  <a:pt x="812821" y="476561"/>
                  <a:pt x="785939" y="502663"/>
                  <a:pt x="735975" y="502663"/>
                </a:cubicBezTo>
                <a:cubicBezTo>
                  <a:pt x="678127" y="502663"/>
                  <a:pt x="632152" y="456133"/>
                  <a:pt x="632152" y="367706"/>
                </a:cubicBezTo>
                <a:cubicBezTo>
                  <a:pt x="632152" y="278522"/>
                  <a:pt x="677367" y="231235"/>
                  <a:pt x="738350" y="231235"/>
                </a:cubicBezTo>
                <a:cubicBezTo>
                  <a:pt x="784325" y="231235"/>
                  <a:pt x="812821" y="256486"/>
                  <a:pt x="825550" y="292803"/>
                </a:cubicBezTo>
                <a:lnTo>
                  <a:pt x="918259" y="292803"/>
                </a:lnTo>
                <a:cubicBezTo>
                  <a:pt x="907145" y="217048"/>
                  <a:pt x="842173" y="153967"/>
                  <a:pt x="736735" y="153967"/>
                </a:cubicBezTo>
                <a:cubicBezTo>
                  <a:pt x="620278" y="153967"/>
                  <a:pt x="533079" y="237571"/>
                  <a:pt x="533079" y="367800"/>
                </a:cubicBezTo>
                <a:cubicBezTo>
                  <a:pt x="533079" y="499448"/>
                  <a:pt x="618664" y="579931"/>
                  <a:pt x="734360" y="579931"/>
                </a:cubicBezTo>
                <a:moveTo>
                  <a:pt x="172690" y="370070"/>
                </a:moveTo>
                <a:lnTo>
                  <a:pt x="209926" y="261971"/>
                </a:lnTo>
                <a:cubicBezTo>
                  <a:pt x="225789" y="220926"/>
                  <a:pt x="240797" y="174395"/>
                  <a:pt x="259035" y="119164"/>
                </a:cubicBezTo>
                <a:lnTo>
                  <a:pt x="259795" y="119164"/>
                </a:lnTo>
                <a:cubicBezTo>
                  <a:pt x="278793" y="174395"/>
                  <a:pt x="294656" y="221777"/>
                  <a:pt x="308904" y="261215"/>
                </a:cubicBezTo>
                <a:lnTo>
                  <a:pt x="346140" y="370070"/>
                </a:lnTo>
                <a:lnTo>
                  <a:pt x="172690" y="370070"/>
                </a:lnTo>
                <a:close/>
                <a:moveTo>
                  <a:pt x="0" y="568109"/>
                </a:moveTo>
                <a:lnTo>
                  <a:pt x="103823" y="568109"/>
                </a:lnTo>
                <a:lnTo>
                  <a:pt x="143433" y="452917"/>
                </a:lnTo>
                <a:lnTo>
                  <a:pt x="374827" y="452917"/>
                </a:lnTo>
                <a:lnTo>
                  <a:pt x="414437" y="568109"/>
                </a:lnTo>
                <a:lnTo>
                  <a:pt x="520635" y="568109"/>
                </a:lnTo>
                <a:lnTo>
                  <a:pt x="316124" y="15794"/>
                </a:lnTo>
                <a:lnTo>
                  <a:pt x="206791" y="15794"/>
                </a:lnTo>
                <a:lnTo>
                  <a:pt x="0" y="568109"/>
                </a:lnTo>
                <a:close/>
              </a:path>
            </a:pathLst>
          </a:custGeom>
          <a:solidFill>
            <a:schemeClr val="bg1"/>
          </a:solidFill>
          <a:ln w="9499" cap="flat">
            <a:noFill/>
            <a:prstDash val="solid"/>
            <a:miter/>
          </a:ln>
        </p:spPr>
        <p:txBody>
          <a:bodyPr rtlCol="0" anchor="ctr"/>
          <a:lstStyle/>
          <a:p>
            <a:endParaRPr lang="en-US"/>
          </a:p>
        </p:txBody>
      </p:sp>
      <p:sp>
        <p:nvSpPr>
          <p:cNvPr id="3" name="Footer Placeholder 4">
            <a:extLst>
              <a:ext uri="{FF2B5EF4-FFF2-40B4-BE49-F238E27FC236}">
                <a16:creationId xmlns:a16="http://schemas.microsoft.com/office/drawing/2014/main" id="{DCF7CA04-A556-4280-7BED-717528D657DE}"/>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1334513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14323" y="269601"/>
            <a:ext cx="5781678" cy="886673"/>
          </a:xfrm>
        </p:spPr>
        <p:txBody>
          <a:bodyPr/>
          <a:lstStyle>
            <a:lvl1pPr>
              <a:defRPr sz="4200" b="0" i="0">
                <a:solidFill>
                  <a:schemeClr val="bg1"/>
                </a:solidFill>
                <a:latin typeface="+mj-lt"/>
              </a:defRPr>
            </a:lvl1pPr>
          </a:lstStyle>
          <a:p>
            <a:r>
              <a:rPr lang="en-US" dirty="0"/>
              <a:t>Click to edit Master</a:t>
            </a:r>
            <a:endParaRPr lang="en-GB" dirty="0"/>
          </a:p>
        </p:txBody>
      </p:sp>
      <p:sp>
        <p:nvSpPr>
          <p:cNvPr id="5" name="Graphic 11">
            <a:extLst>
              <a:ext uri="{FF2B5EF4-FFF2-40B4-BE49-F238E27FC236}">
                <a16:creationId xmlns:a16="http://schemas.microsoft.com/office/drawing/2014/main" id="{306EF912-77FF-EC72-7590-3D1604547AA0}"/>
              </a:ext>
            </a:extLst>
          </p:cNvPr>
          <p:cNvSpPr/>
          <p:nvPr userDrawn="1"/>
        </p:nvSpPr>
        <p:spPr>
          <a:xfrm>
            <a:off x="9244208" y="317500"/>
            <a:ext cx="2636642" cy="1008569"/>
          </a:xfrm>
          <a:custGeom>
            <a:avLst/>
            <a:gdLst>
              <a:gd name="connsiteX0" fmla="*/ 4115562 w 4188999"/>
              <a:gd name="connsiteY0" fmla="*/ 1595750 h 1602377"/>
              <a:gd name="connsiteX1" fmla="*/ 4189000 w 4188999"/>
              <a:gd name="connsiteY1" fmla="*/ 1522747 h 1602377"/>
              <a:gd name="connsiteX2" fmla="*/ 4115562 w 4188999"/>
              <a:gd name="connsiteY2" fmla="*/ 1450690 h 1602377"/>
              <a:gd name="connsiteX3" fmla="*/ 4042124 w 4188999"/>
              <a:gd name="connsiteY3" fmla="*/ 1522747 h 1602377"/>
              <a:gd name="connsiteX4" fmla="*/ 4115562 w 4188999"/>
              <a:gd name="connsiteY4" fmla="*/ 1595750 h 1602377"/>
              <a:gd name="connsiteX5" fmla="*/ 3601307 w 4188999"/>
              <a:gd name="connsiteY5" fmla="*/ 1296067 h 1602377"/>
              <a:gd name="connsiteX6" fmla="*/ 3731038 w 4188999"/>
              <a:gd name="connsiteY6" fmla="*/ 1179414 h 1602377"/>
              <a:gd name="connsiteX7" fmla="*/ 3859816 w 4188999"/>
              <a:gd name="connsiteY7" fmla="*/ 1296067 h 1602377"/>
              <a:gd name="connsiteX8" fmla="*/ 3601307 w 4188999"/>
              <a:gd name="connsiteY8" fmla="*/ 1296067 h 1602377"/>
              <a:gd name="connsiteX9" fmla="*/ 3735800 w 4188999"/>
              <a:gd name="connsiteY9" fmla="*/ 1602378 h 1602377"/>
              <a:gd name="connsiteX10" fmla="*/ 3960019 w 4188999"/>
              <a:gd name="connsiteY10" fmla="*/ 1462053 h 1602377"/>
              <a:gd name="connsiteX11" fmla="*/ 3839813 w 4188999"/>
              <a:gd name="connsiteY11" fmla="*/ 1462053 h 1602377"/>
              <a:gd name="connsiteX12" fmla="*/ 3737705 w 4188999"/>
              <a:gd name="connsiteY12" fmla="*/ 1513278 h 1602377"/>
              <a:gd name="connsiteX13" fmla="*/ 3599403 w 4188999"/>
              <a:gd name="connsiteY13" fmla="*/ 1378634 h 1602377"/>
              <a:gd name="connsiteX14" fmla="*/ 3973354 w 4188999"/>
              <a:gd name="connsiteY14" fmla="*/ 1378634 h 1602377"/>
              <a:gd name="connsiteX15" fmla="*/ 3728180 w 4188999"/>
              <a:gd name="connsiteY15" fmla="*/ 1089367 h 1602377"/>
              <a:gd name="connsiteX16" fmla="*/ 3483959 w 4188999"/>
              <a:gd name="connsiteY16" fmla="*/ 1347387 h 1602377"/>
              <a:gd name="connsiteX17" fmla="*/ 3735800 w 4188999"/>
              <a:gd name="connsiteY17" fmla="*/ 1602378 h 1602377"/>
              <a:gd name="connsiteX18" fmla="*/ 3363754 w 4188999"/>
              <a:gd name="connsiteY18" fmla="*/ 1592909 h 1602377"/>
              <a:gd name="connsiteX19" fmla="*/ 3436239 w 4188999"/>
              <a:gd name="connsiteY19" fmla="*/ 1583441 h 1602377"/>
              <a:gd name="connsiteX20" fmla="*/ 3436239 w 4188999"/>
              <a:gd name="connsiteY20" fmla="*/ 1500969 h 1602377"/>
              <a:gd name="connsiteX21" fmla="*/ 3394234 w 4188999"/>
              <a:gd name="connsiteY21" fmla="*/ 1505703 h 1602377"/>
              <a:gd name="connsiteX22" fmla="*/ 3329369 w 4188999"/>
              <a:gd name="connsiteY22" fmla="*/ 1428912 h 1602377"/>
              <a:gd name="connsiteX23" fmla="*/ 3329369 w 4188999"/>
              <a:gd name="connsiteY23" fmla="*/ 1191818 h 1602377"/>
              <a:gd name="connsiteX24" fmla="*/ 3426714 w 4188999"/>
              <a:gd name="connsiteY24" fmla="*/ 1191818 h 1602377"/>
              <a:gd name="connsiteX25" fmla="*/ 3426714 w 4188999"/>
              <a:gd name="connsiteY25" fmla="*/ 1103570 h 1602377"/>
              <a:gd name="connsiteX26" fmla="*/ 3329369 w 4188999"/>
              <a:gd name="connsiteY26" fmla="*/ 1103570 h 1602377"/>
              <a:gd name="connsiteX27" fmla="*/ 3329369 w 4188999"/>
              <a:gd name="connsiteY27" fmla="*/ 961256 h 1602377"/>
              <a:gd name="connsiteX28" fmla="*/ 3218688 w 4188999"/>
              <a:gd name="connsiteY28" fmla="*/ 961256 h 1602377"/>
              <a:gd name="connsiteX29" fmla="*/ 3218688 w 4188999"/>
              <a:gd name="connsiteY29" fmla="*/ 1103570 h 1602377"/>
              <a:gd name="connsiteX30" fmla="*/ 3135725 w 4188999"/>
              <a:gd name="connsiteY30" fmla="*/ 1103570 h 1602377"/>
              <a:gd name="connsiteX31" fmla="*/ 3135725 w 4188999"/>
              <a:gd name="connsiteY31" fmla="*/ 1191818 h 1602377"/>
              <a:gd name="connsiteX32" fmla="*/ 3218688 w 4188999"/>
              <a:gd name="connsiteY32" fmla="*/ 1191818 h 1602377"/>
              <a:gd name="connsiteX33" fmla="*/ 3218688 w 4188999"/>
              <a:gd name="connsiteY33" fmla="*/ 1449743 h 1602377"/>
              <a:gd name="connsiteX34" fmla="*/ 3363754 w 4188999"/>
              <a:gd name="connsiteY34" fmla="*/ 1592909 h 1602377"/>
              <a:gd name="connsiteX35" fmla="*/ 2815209 w 4188999"/>
              <a:gd name="connsiteY35" fmla="*/ 1602378 h 1602377"/>
              <a:gd name="connsiteX36" fmla="*/ 2952560 w 4188999"/>
              <a:gd name="connsiteY36" fmla="*/ 1528428 h 1602377"/>
              <a:gd name="connsiteX37" fmla="*/ 2952560 w 4188999"/>
              <a:gd name="connsiteY37" fmla="*/ 1588175 h 1602377"/>
              <a:gd name="connsiteX38" fmla="*/ 3064193 w 4188999"/>
              <a:gd name="connsiteY38" fmla="*/ 1588175 h 1602377"/>
              <a:gd name="connsiteX39" fmla="*/ 3064193 w 4188999"/>
              <a:gd name="connsiteY39" fmla="*/ 1103570 h 1602377"/>
              <a:gd name="connsiteX40" fmla="*/ 2950655 w 4188999"/>
              <a:gd name="connsiteY40" fmla="*/ 1103570 h 1602377"/>
              <a:gd name="connsiteX41" fmla="*/ 2950655 w 4188999"/>
              <a:gd name="connsiteY41" fmla="*/ 1372006 h 1602377"/>
              <a:gd name="connsiteX42" fmla="*/ 2848547 w 4188999"/>
              <a:gd name="connsiteY42" fmla="*/ 1509490 h 1602377"/>
              <a:gd name="connsiteX43" fmla="*/ 2766536 w 4188999"/>
              <a:gd name="connsiteY43" fmla="*/ 1407040 h 1602377"/>
              <a:gd name="connsiteX44" fmla="*/ 2766536 w 4188999"/>
              <a:gd name="connsiteY44" fmla="*/ 1103570 h 1602377"/>
              <a:gd name="connsiteX45" fmla="*/ 2652998 w 4188999"/>
              <a:gd name="connsiteY45" fmla="*/ 1103570 h 1602377"/>
              <a:gd name="connsiteX46" fmla="*/ 2652998 w 4188999"/>
              <a:gd name="connsiteY46" fmla="*/ 1424178 h 1602377"/>
              <a:gd name="connsiteX47" fmla="*/ 2815209 w 4188999"/>
              <a:gd name="connsiteY47" fmla="*/ 1602378 h 1602377"/>
              <a:gd name="connsiteX48" fmla="*/ 2499360 w 4188999"/>
              <a:gd name="connsiteY48" fmla="*/ 1592909 h 1602377"/>
              <a:gd name="connsiteX49" fmla="*/ 2571845 w 4188999"/>
              <a:gd name="connsiteY49" fmla="*/ 1583441 h 1602377"/>
              <a:gd name="connsiteX50" fmla="*/ 2571845 w 4188999"/>
              <a:gd name="connsiteY50" fmla="*/ 1500969 h 1602377"/>
              <a:gd name="connsiteX51" fmla="*/ 2529840 w 4188999"/>
              <a:gd name="connsiteY51" fmla="*/ 1505703 h 1602377"/>
              <a:gd name="connsiteX52" fmla="*/ 2464975 w 4188999"/>
              <a:gd name="connsiteY52" fmla="*/ 1428912 h 1602377"/>
              <a:gd name="connsiteX53" fmla="*/ 2464975 w 4188999"/>
              <a:gd name="connsiteY53" fmla="*/ 1191818 h 1602377"/>
              <a:gd name="connsiteX54" fmla="*/ 2562320 w 4188999"/>
              <a:gd name="connsiteY54" fmla="*/ 1191818 h 1602377"/>
              <a:gd name="connsiteX55" fmla="*/ 2562320 w 4188999"/>
              <a:gd name="connsiteY55" fmla="*/ 1103570 h 1602377"/>
              <a:gd name="connsiteX56" fmla="*/ 2465070 w 4188999"/>
              <a:gd name="connsiteY56" fmla="*/ 1103570 h 1602377"/>
              <a:gd name="connsiteX57" fmla="*/ 2465070 w 4188999"/>
              <a:gd name="connsiteY57" fmla="*/ 961256 h 1602377"/>
              <a:gd name="connsiteX58" fmla="*/ 2354390 w 4188999"/>
              <a:gd name="connsiteY58" fmla="*/ 961256 h 1602377"/>
              <a:gd name="connsiteX59" fmla="*/ 2354390 w 4188999"/>
              <a:gd name="connsiteY59" fmla="*/ 1103570 h 1602377"/>
              <a:gd name="connsiteX60" fmla="*/ 2271427 w 4188999"/>
              <a:gd name="connsiteY60" fmla="*/ 1103570 h 1602377"/>
              <a:gd name="connsiteX61" fmla="*/ 2271427 w 4188999"/>
              <a:gd name="connsiteY61" fmla="*/ 1191818 h 1602377"/>
              <a:gd name="connsiteX62" fmla="*/ 2354390 w 4188999"/>
              <a:gd name="connsiteY62" fmla="*/ 1191818 h 1602377"/>
              <a:gd name="connsiteX63" fmla="*/ 2354390 w 4188999"/>
              <a:gd name="connsiteY63" fmla="*/ 1449743 h 1602377"/>
              <a:gd name="connsiteX64" fmla="*/ 2499360 w 4188999"/>
              <a:gd name="connsiteY64" fmla="*/ 1592909 h 1602377"/>
              <a:gd name="connsiteX65" fmla="*/ 2069116 w 4188999"/>
              <a:gd name="connsiteY65" fmla="*/ 980194 h 1602377"/>
              <a:gd name="connsiteX66" fmla="*/ 2143506 w 4188999"/>
              <a:gd name="connsiteY66" fmla="*/ 1054144 h 1602377"/>
              <a:gd name="connsiteX67" fmla="*/ 2217896 w 4188999"/>
              <a:gd name="connsiteY67" fmla="*/ 980194 h 1602377"/>
              <a:gd name="connsiteX68" fmla="*/ 2143506 w 4188999"/>
              <a:gd name="connsiteY68" fmla="*/ 905297 h 1602377"/>
              <a:gd name="connsiteX69" fmla="*/ 2069116 w 4188999"/>
              <a:gd name="connsiteY69" fmla="*/ 980194 h 1602377"/>
              <a:gd name="connsiteX70" fmla="*/ 2087213 w 4188999"/>
              <a:gd name="connsiteY70" fmla="*/ 1588175 h 1602377"/>
              <a:gd name="connsiteX71" fmla="*/ 2199799 w 4188999"/>
              <a:gd name="connsiteY71" fmla="*/ 1588175 h 1602377"/>
              <a:gd name="connsiteX72" fmla="*/ 2199799 w 4188999"/>
              <a:gd name="connsiteY72" fmla="*/ 1103570 h 1602377"/>
              <a:gd name="connsiteX73" fmla="*/ 2087213 w 4188999"/>
              <a:gd name="connsiteY73" fmla="*/ 1103570 h 1602377"/>
              <a:gd name="connsiteX74" fmla="*/ 2087213 w 4188999"/>
              <a:gd name="connsiteY74" fmla="*/ 1588175 h 1602377"/>
              <a:gd name="connsiteX75" fmla="*/ 1928908 w 4188999"/>
              <a:gd name="connsiteY75" fmla="*/ 1592909 h 1602377"/>
              <a:gd name="connsiteX76" fmla="*/ 2001393 w 4188999"/>
              <a:gd name="connsiteY76" fmla="*/ 1583441 h 1602377"/>
              <a:gd name="connsiteX77" fmla="*/ 2001393 w 4188999"/>
              <a:gd name="connsiteY77" fmla="*/ 1500969 h 1602377"/>
              <a:gd name="connsiteX78" fmla="*/ 1959388 w 4188999"/>
              <a:gd name="connsiteY78" fmla="*/ 1505703 h 1602377"/>
              <a:gd name="connsiteX79" fmla="*/ 1894523 w 4188999"/>
              <a:gd name="connsiteY79" fmla="*/ 1428912 h 1602377"/>
              <a:gd name="connsiteX80" fmla="*/ 1894523 w 4188999"/>
              <a:gd name="connsiteY80" fmla="*/ 1191818 h 1602377"/>
              <a:gd name="connsiteX81" fmla="*/ 1991868 w 4188999"/>
              <a:gd name="connsiteY81" fmla="*/ 1191818 h 1602377"/>
              <a:gd name="connsiteX82" fmla="*/ 1991868 w 4188999"/>
              <a:gd name="connsiteY82" fmla="*/ 1103570 h 1602377"/>
              <a:gd name="connsiteX83" fmla="*/ 1894523 w 4188999"/>
              <a:gd name="connsiteY83" fmla="*/ 1103570 h 1602377"/>
              <a:gd name="connsiteX84" fmla="*/ 1894523 w 4188999"/>
              <a:gd name="connsiteY84" fmla="*/ 961256 h 1602377"/>
              <a:gd name="connsiteX85" fmla="*/ 1783842 w 4188999"/>
              <a:gd name="connsiteY85" fmla="*/ 961256 h 1602377"/>
              <a:gd name="connsiteX86" fmla="*/ 1783842 w 4188999"/>
              <a:gd name="connsiteY86" fmla="*/ 1103570 h 1602377"/>
              <a:gd name="connsiteX87" fmla="*/ 1700879 w 4188999"/>
              <a:gd name="connsiteY87" fmla="*/ 1103570 h 1602377"/>
              <a:gd name="connsiteX88" fmla="*/ 1700879 w 4188999"/>
              <a:gd name="connsiteY88" fmla="*/ 1191818 h 1602377"/>
              <a:gd name="connsiteX89" fmla="*/ 1783842 w 4188999"/>
              <a:gd name="connsiteY89" fmla="*/ 1191818 h 1602377"/>
              <a:gd name="connsiteX90" fmla="*/ 1783842 w 4188999"/>
              <a:gd name="connsiteY90" fmla="*/ 1449743 h 1602377"/>
              <a:gd name="connsiteX91" fmla="*/ 1928908 w 4188999"/>
              <a:gd name="connsiteY91" fmla="*/ 1592909 h 1602377"/>
              <a:gd name="connsiteX92" fmla="*/ 1450848 w 4188999"/>
              <a:gd name="connsiteY92" fmla="*/ 1602378 h 1602377"/>
              <a:gd name="connsiteX93" fmla="*/ 1666494 w 4188999"/>
              <a:gd name="connsiteY93" fmla="*/ 1444914 h 1602377"/>
              <a:gd name="connsiteX94" fmla="*/ 1488091 w 4188999"/>
              <a:gd name="connsiteY94" fmla="*/ 1298813 h 1602377"/>
              <a:gd name="connsiteX95" fmla="*/ 1428941 w 4188999"/>
              <a:gd name="connsiteY95" fmla="*/ 1285557 h 1602377"/>
              <a:gd name="connsiteX96" fmla="*/ 1351693 w 4188999"/>
              <a:gd name="connsiteY96" fmla="*/ 1229598 h 1602377"/>
              <a:gd name="connsiteX97" fmla="*/ 1435608 w 4188999"/>
              <a:gd name="connsiteY97" fmla="*/ 1172691 h 1602377"/>
              <a:gd name="connsiteX98" fmla="*/ 1535811 w 4188999"/>
              <a:gd name="connsiteY98" fmla="*/ 1234332 h 1602377"/>
              <a:gd name="connsiteX99" fmla="*/ 1649349 w 4188999"/>
              <a:gd name="connsiteY99" fmla="*/ 1234332 h 1602377"/>
              <a:gd name="connsiteX100" fmla="*/ 1436561 w 4188999"/>
              <a:gd name="connsiteY100" fmla="*/ 1090219 h 1602377"/>
              <a:gd name="connsiteX101" fmla="*/ 1236155 w 4188999"/>
              <a:gd name="connsiteY101" fmla="*/ 1236320 h 1602377"/>
              <a:gd name="connsiteX102" fmla="*/ 1400270 w 4188999"/>
              <a:gd name="connsiteY102" fmla="*/ 1380433 h 1602377"/>
              <a:gd name="connsiteX103" fmla="*/ 1457516 w 4188999"/>
              <a:gd name="connsiteY103" fmla="*/ 1392742 h 1602377"/>
              <a:gd name="connsiteX104" fmla="*/ 1551051 w 4188999"/>
              <a:gd name="connsiteY104" fmla="*/ 1456277 h 1602377"/>
              <a:gd name="connsiteX105" fmla="*/ 1456563 w 4188999"/>
              <a:gd name="connsiteY105" fmla="*/ 1518864 h 1602377"/>
              <a:gd name="connsiteX106" fmla="*/ 1341120 w 4188999"/>
              <a:gd name="connsiteY106" fmla="*/ 1437339 h 1602377"/>
              <a:gd name="connsiteX107" fmla="*/ 1219010 w 4188999"/>
              <a:gd name="connsiteY107" fmla="*/ 1437339 h 1602377"/>
              <a:gd name="connsiteX108" fmla="*/ 1450848 w 4188999"/>
              <a:gd name="connsiteY108" fmla="*/ 1602378 h 1602377"/>
              <a:gd name="connsiteX109" fmla="*/ 720090 w 4188999"/>
              <a:gd name="connsiteY109" fmla="*/ 1588175 h 1602377"/>
              <a:gd name="connsiteX110" fmla="*/ 833628 w 4188999"/>
              <a:gd name="connsiteY110" fmla="*/ 1588175 h 1602377"/>
              <a:gd name="connsiteX111" fmla="*/ 833628 w 4188999"/>
              <a:gd name="connsiteY111" fmla="*/ 1317845 h 1602377"/>
              <a:gd name="connsiteX112" fmla="*/ 943356 w 4188999"/>
              <a:gd name="connsiteY112" fmla="*/ 1182254 h 1602377"/>
              <a:gd name="connsiteX113" fmla="*/ 1023461 w 4188999"/>
              <a:gd name="connsiteY113" fmla="*/ 1275236 h 1602377"/>
              <a:gd name="connsiteX114" fmla="*/ 1023461 w 4188999"/>
              <a:gd name="connsiteY114" fmla="*/ 1588175 h 1602377"/>
              <a:gd name="connsiteX115" fmla="*/ 1137952 w 4188999"/>
              <a:gd name="connsiteY115" fmla="*/ 1588175 h 1602377"/>
              <a:gd name="connsiteX116" fmla="*/ 1137952 w 4188999"/>
              <a:gd name="connsiteY116" fmla="*/ 1265673 h 1602377"/>
              <a:gd name="connsiteX117" fmla="*/ 975741 w 4188999"/>
              <a:gd name="connsiteY117" fmla="*/ 1089272 h 1602377"/>
              <a:gd name="connsiteX118" fmla="*/ 830675 w 4188999"/>
              <a:gd name="connsiteY118" fmla="*/ 1166063 h 1602377"/>
              <a:gd name="connsiteX119" fmla="*/ 830675 w 4188999"/>
              <a:gd name="connsiteY119" fmla="*/ 1103475 h 1602377"/>
              <a:gd name="connsiteX120" fmla="*/ 720090 w 4188999"/>
              <a:gd name="connsiteY120" fmla="*/ 1103475 h 1602377"/>
              <a:gd name="connsiteX121" fmla="*/ 720090 w 4188999"/>
              <a:gd name="connsiteY121" fmla="*/ 1588175 h 1602377"/>
              <a:gd name="connsiteX122" fmla="*/ 471964 w 4188999"/>
              <a:gd name="connsiteY122" fmla="*/ 1588175 h 1602377"/>
              <a:gd name="connsiteX123" fmla="*/ 591217 w 4188999"/>
              <a:gd name="connsiteY123" fmla="*/ 1588175 h 1602377"/>
              <a:gd name="connsiteX124" fmla="*/ 591217 w 4188999"/>
              <a:gd name="connsiteY124" fmla="*/ 924329 h 1602377"/>
              <a:gd name="connsiteX125" fmla="*/ 471964 w 4188999"/>
              <a:gd name="connsiteY125" fmla="*/ 924329 h 1602377"/>
              <a:gd name="connsiteX126" fmla="*/ 471964 w 4188999"/>
              <a:gd name="connsiteY126" fmla="*/ 1588175 h 1602377"/>
              <a:gd name="connsiteX127" fmla="*/ 3960971 w 4188999"/>
              <a:gd name="connsiteY127" fmla="*/ 697081 h 1602377"/>
              <a:gd name="connsiteX128" fmla="*/ 4176617 w 4188999"/>
              <a:gd name="connsiteY128" fmla="*/ 539618 h 1602377"/>
              <a:gd name="connsiteX129" fmla="*/ 3998214 w 4188999"/>
              <a:gd name="connsiteY129" fmla="*/ 393517 h 1602377"/>
              <a:gd name="connsiteX130" fmla="*/ 3939064 w 4188999"/>
              <a:gd name="connsiteY130" fmla="*/ 380261 h 1602377"/>
              <a:gd name="connsiteX131" fmla="*/ 3861816 w 4188999"/>
              <a:gd name="connsiteY131" fmla="*/ 324301 h 1602377"/>
              <a:gd name="connsiteX132" fmla="*/ 3945731 w 4188999"/>
              <a:gd name="connsiteY132" fmla="*/ 267394 h 1602377"/>
              <a:gd name="connsiteX133" fmla="*/ 4045934 w 4188999"/>
              <a:gd name="connsiteY133" fmla="*/ 329035 h 1602377"/>
              <a:gd name="connsiteX134" fmla="*/ 4159472 w 4188999"/>
              <a:gd name="connsiteY134" fmla="*/ 329035 h 1602377"/>
              <a:gd name="connsiteX135" fmla="*/ 3946684 w 4188999"/>
              <a:gd name="connsiteY135" fmla="*/ 184923 h 1602377"/>
              <a:gd name="connsiteX136" fmla="*/ 3746278 w 4188999"/>
              <a:gd name="connsiteY136" fmla="*/ 331024 h 1602377"/>
              <a:gd name="connsiteX137" fmla="*/ 3910394 w 4188999"/>
              <a:gd name="connsiteY137" fmla="*/ 475136 h 1602377"/>
              <a:gd name="connsiteX138" fmla="*/ 3967639 w 4188999"/>
              <a:gd name="connsiteY138" fmla="*/ 487446 h 1602377"/>
              <a:gd name="connsiteX139" fmla="*/ 4061174 w 4188999"/>
              <a:gd name="connsiteY139" fmla="*/ 550980 h 1602377"/>
              <a:gd name="connsiteX140" fmla="*/ 3966686 w 4188999"/>
              <a:gd name="connsiteY140" fmla="*/ 613568 h 1602377"/>
              <a:gd name="connsiteX141" fmla="*/ 3851243 w 4188999"/>
              <a:gd name="connsiteY141" fmla="*/ 532043 h 1602377"/>
              <a:gd name="connsiteX142" fmla="*/ 3729133 w 4188999"/>
              <a:gd name="connsiteY142" fmla="*/ 532043 h 1602377"/>
              <a:gd name="connsiteX143" fmla="*/ 3960971 w 4188999"/>
              <a:gd name="connsiteY143" fmla="*/ 697081 h 1602377"/>
              <a:gd name="connsiteX144" fmla="*/ 3307747 w 4188999"/>
              <a:gd name="connsiteY144" fmla="*/ 390771 h 1602377"/>
              <a:gd name="connsiteX145" fmla="*/ 3437478 w 4188999"/>
              <a:gd name="connsiteY145" fmla="*/ 274117 h 1602377"/>
              <a:gd name="connsiteX146" fmla="*/ 3566255 w 4188999"/>
              <a:gd name="connsiteY146" fmla="*/ 390771 h 1602377"/>
              <a:gd name="connsiteX147" fmla="*/ 3307747 w 4188999"/>
              <a:gd name="connsiteY147" fmla="*/ 390771 h 1602377"/>
              <a:gd name="connsiteX148" fmla="*/ 3442240 w 4188999"/>
              <a:gd name="connsiteY148" fmla="*/ 697081 h 1602377"/>
              <a:gd name="connsiteX149" fmla="*/ 3666458 w 4188999"/>
              <a:gd name="connsiteY149" fmla="*/ 556756 h 1602377"/>
              <a:gd name="connsiteX150" fmla="*/ 3546253 w 4188999"/>
              <a:gd name="connsiteY150" fmla="*/ 556756 h 1602377"/>
              <a:gd name="connsiteX151" fmla="*/ 3444145 w 4188999"/>
              <a:gd name="connsiteY151" fmla="*/ 607981 h 1602377"/>
              <a:gd name="connsiteX152" fmla="*/ 3305842 w 4188999"/>
              <a:gd name="connsiteY152" fmla="*/ 473337 h 1602377"/>
              <a:gd name="connsiteX153" fmla="*/ 3679889 w 4188999"/>
              <a:gd name="connsiteY153" fmla="*/ 473337 h 1602377"/>
              <a:gd name="connsiteX154" fmla="*/ 3434715 w 4188999"/>
              <a:gd name="connsiteY154" fmla="*/ 184070 h 1602377"/>
              <a:gd name="connsiteX155" fmla="*/ 3190494 w 4188999"/>
              <a:gd name="connsiteY155" fmla="*/ 441996 h 1602377"/>
              <a:gd name="connsiteX156" fmla="*/ 3442240 w 4188999"/>
              <a:gd name="connsiteY156" fmla="*/ 697081 h 1602377"/>
              <a:gd name="connsiteX157" fmla="*/ 2968371 w 4188999"/>
              <a:gd name="connsiteY157" fmla="*/ 74897 h 1602377"/>
              <a:gd name="connsiteX158" fmla="*/ 3042761 w 4188999"/>
              <a:gd name="connsiteY158" fmla="*/ 148847 h 1602377"/>
              <a:gd name="connsiteX159" fmla="*/ 3117152 w 4188999"/>
              <a:gd name="connsiteY159" fmla="*/ 74897 h 1602377"/>
              <a:gd name="connsiteX160" fmla="*/ 3042761 w 4188999"/>
              <a:gd name="connsiteY160" fmla="*/ 0 h 1602377"/>
              <a:gd name="connsiteX161" fmla="*/ 2968371 w 4188999"/>
              <a:gd name="connsiteY161" fmla="*/ 74897 h 1602377"/>
              <a:gd name="connsiteX162" fmla="*/ 2986469 w 4188999"/>
              <a:gd name="connsiteY162" fmla="*/ 682878 h 1602377"/>
              <a:gd name="connsiteX163" fmla="*/ 3099054 w 4188999"/>
              <a:gd name="connsiteY163" fmla="*/ 682878 h 1602377"/>
              <a:gd name="connsiteX164" fmla="*/ 3099054 w 4188999"/>
              <a:gd name="connsiteY164" fmla="*/ 198179 h 1602377"/>
              <a:gd name="connsiteX165" fmla="*/ 2986469 w 4188999"/>
              <a:gd name="connsiteY165" fmla="*/ 198179 h 1602377"/>
              <a:gd name="connsiteX166" fmla="*/ 2986469 w 4188999"/>
              <a:gd name="connsiteY166" fmla="*/ 682878 h 1602377"/>
              <a:gd name="connsiteX167" fmla="*/ 2628995 w 4188999"/>
              <a:gd name="connsiteY167" fmla="*/ 682878 h 1602377"/>
              <a:gd name="connsiteX168" fmla="*/ 2742533 w 4188999"/>
              <a:gd name="connsiteY168" fmla="*/ 682878 h 1602377"/>
              <a:gd name="connsiteX169" fmla="*/ 2742533 w 4188999"/>
              <a:gd name="connsiteY169" fmla="*/ 463774 h 1602377"/>
              <a:gd name="connsiteX170" fmla="*/ 2826449 w 4188999"/>
              <a:gd name="connsiteY170" fmla="*/ 299682 h 1602377"/>
              <a:gd name="connsiteX171" fmla="*/ 2913316 w 4188999"/>
              <a:gd name="connsiteY171" fmla="*/ 292108 h 1602377"/>
              <a:gd name="connsiteX172" fmla="*/ 2913316 w 4188999"/>
              <a:gd name="connsiteY172" fmla="*/ 183976 h 1602377"/>
              <a:gd name="connsiteX173" fmla="*/ 2739676 w 4188999"/>
              <a:gd name="connsiteY173" fmla="*/ 297789 h 1602377"/>
              <a:gd name="connsiteX174" fmla="*/ 2739676 w 4188999"/>
              <a:gd name="connsiteY174" fmla="*/ 198179 h 1602377"/>
              <a:gd name="connsiteX175" fmla="*/ 2628995 w 4188999"/>
              <a:gd name="connsiteY175" fmla="*/ 198179 h 1602377"/>
              <a:gd name="connsiteX176" fmla="*/ 2628995 w 4188999"/>
              <a:gd name="connsiteY176" fmla="*/ 682878 h 1602377"/>
              <a:gd name="connsiteX177" fmla="*/ 2140744 w 4188999"/>
              <a:gd name="connsiteY177" fmla="*/ 440102 h 1602377"/>
              <a:gd name="connsiteX178" fmla="*/ 2264759 w 4188999"/>
              <a:gd name="connsiteY178" fmla="*/ 275064 h 1602377"/>
              <a:gd name="connsiteX179" fmla="*/ 2392585 w 4188999"/>
              <a:gd name="connsiteY179" fmla="*/ 440102 h 1602377"/>
              <a:gd name="connsiteX180" fmla="*/ 2264759 w 4188999"/>
              <a:gd name="connsiteY180" fmla="*/ 607034 h 1602377"/>
              <a:gd name="connsiteX181" fmla="*/ 2140744 w 4188999"/>
              <a:gd name="connsiteY181" fmla="*/ 440102 h 1602377"/>
              <a:gd name="connsiteX182" fmla="*/ 2242852 w 4188999"/>
              <a:gd name="connsiteY182" fmla="*/ 697081 h 1602377"/>
              <a:gd name="connsiteX183" fmla="*/ 2390775 w 4188999"/>
              <a:gd name="connsiteY183" fmla="*/ 622184 h 1602377"/>
              <a:gd name="connsiteX184" fmla="*/ 2390775 w 4188999"/>
              <a:gd name="connsiteY184" fmla="*/ 682878 h 1602377"/>
              <a:gd name="connsiteX185" fmla="*/ 2505266 w 4188999"/>
              <a:gd name="connsiteY185" fmla="*/ 682878 h 1602377"/>
              <a:gd name="connsiteX186" fmla="*/ 2505266 w 4188999"/>
              <a:gd name="connsiteY186" fmla="*/ 198179 h 1602377"/>
              <a:gd name="connsiteX187" fmla="*/ 2390775 w 4188999"/>
              <a:gd name="connsiteY187" fmla="*/ 198179 h 1602377"/>
              <a:gd name="connsiteX188" fmla="*/ 2390775 w 4188999"/>
              <a:gd name="connsiteY188" fmla="*/ 260766 h 1602377"/>
              <a:gd name="connsiteX189" fmla="*/ 2242852 w 4188999"/>
              <a:gd name="connsiteY189" fmla="*/ 183976 h 1602377"/>
              <a:gd name="connsiteX190" fmla="*/ 2024348 w 4188999"/>
              <a:gd name="connsiteY190" fmla="*/ 440008 h 1602377"/>
              <a:gd name="connsiteX191" fmla="*/ 2242852 w 4188999"/>
              <a:gd name="connsiteY191" fmla="*/ 697081 h 1602377"/>
              <a:gd name="connsiteX192" fmla="*/ 1683068 w 4188999"/>
              <a:gd name="connsiteY192" fmla="*/ 697081 h 1602377"/>
              <a:gd name="connsiteX193" fmla="*/ 1820418 w 4188999"/>
              <a:gd name="connsiteY193" fmla="*/ 623131 h 1602377"/>
              <a:gd name="connsiteX194" fmla="*/ 1820418 w 4188999"/>
              <a:gd name="connsiteY194" fmla="*/ 682878 h 1602377"/>
              <a:gd name="connsiteX195" fmla="*/ 1932051 w 4188999"/>
              <a:gd name="connsiteY195" fmla="*/ 682878 h 1602377"/>
              <a:gd name="connsiteX196" fmla="*/ 1932051 w 4188999"/>
              <a:gd name="connsiteY196" fmla="*/ 198179 h 1602377"/>
              <a:gd name="connsiteX197" fmla="*/ 1818513 w 4188999"/>
              <a:gd name="connsiteY197" fmla="*/ 198179 h 1602377"/>
              <a:gd name="connsiteX198" fmla="*/ 1818513 w 4188999"/>
              <a:gd name="connsiteY198" fmla="*/ 466615 h 1602377"/>
              <a:gd name="connsiteX199" fmla="*/ 1716405 w 4188999"/>
              <a:gd name="connsiteY199" fmla="*/ 604099 h 1602377"/>
              <a:gd name="connsiteX200" fmla="*/ 1634395 w 4188999"/>
              <a:gd name="connsiteY200" fmla="*/ 501649 h 1602377"/>
              <a:gd name="connsiteX201" fmla="*/ 1634395 w 4188999"/>
              <a:gd name="connsiteY201" fmla="*/ 198179 h 1602377"/>
              <a:gd name="connsiteX202" fmla="*/ 1520857 w 4188999"/>
              <a:gd name="connsiteY202" fmla="*/ 198179 h 1602377"/>
              <a:gd name="connsiteX203" fmla="*/ 1520857 w 4188999"/>
              <a:gd name="connsiteY203" fmla="*/ 518787 h 1602377"/>
              <a:gd name="connsiteX204" fmla="*/ 1683068 w 4188999"/>
              <a:gd name="connsiteY204" fmla="*/ 697081 h 1602377"/>
              <a:gd name="connsiteX205" fmla="*/ 1368552 w 4188999"/>
              <a:gd name="connsiteY205" fmla="*/ 687613 h 1602377"/>
              <a:gd name="connsiteX206" fmla="*/ 1441037 w 4188999"/>
              <a:gd name="connsiteY206" fmla="*/ 678144 h 1602377"/>
              <a:gd name="connsiteX207" fmla="*/ 1441037 w 4188999"/>
              <a:gd name="connsiteY207" fmla="*/ 595577 h 1602377"/>
              <a:gd name="connsiteX208" fmla="*/ 1399032 w 4188999"/>
              <a:gd name="connsiteY208" fmla="*/ 600312 h 1602377"/>
              <a:gd name="connsiteX209" fmla="*/ 1334167 w 4188999"/>
              <a:gd name="connsiteY209" fmla="*/ 523521 h 1602377"/>
              <a:gd name="connsiteX210" fmla="*/ 1334167 w 4188999"/>
              <a:gd name="connsiteY210" fmla="*/ 286426 h 1602377"/>
              <a:gd name="connsiteX211" fmla="*/ 1431512 w 4188999"/>
              <a:gd name="connsiteY211" fmla="*/ 286426 h 1602377"/>
              <a:gd name="connsiteX212" fmla="*/ 1431512 w 4188999"/>
              <a:gd name="connsiteY212" fmla="*/ 198179 h 1602377"/>
              <a:gd name="connsiteX213" fmla="*/ 1334167 w 4188999"/>
              <a:gd name="connsiteY213" fmla="*/ 198179 h 1602377"/>
              <a:gd name="connsiteX214" fmla="*/ 1334167 w 4188999"/>
              <a:gd name="connsiteY214" fmla="*/ 55960 h 1602377"/>
              <a:gd name="connsiteX215" fmla="*/ 1223486 w 4188999"/>
              <a:gd name="connsiteY215" fmla="*/ 55960 h 1602377"/>
              <a:gd name="connsiteX216" fmla="*/ 1223486 w 4188999"/>
              <a:gd name="connsiteY216" fmla="*/ 198179 h 1602377"/>
              <a:gd name="connsiteX217" fmla="*/ 1140524 w 4188999"/>
              <a:gd name="connsiteY217" fmla="*/ 198179 h 1602377"/>
              <a:gd name="connsiteX218" fmla="*/ 1140524 w 4188999"/>
              <a:gd name="connsiteY218" fmla="*/ 286426 h 1602377"/>
              <a:gd name="connsiteX219" fmla="*/ 1223486 w 4188999"/>
              <a:gd name="connsiteY219" fmla="*/ 286426 h 1602377"/>
              <a:gd name="connsiteX220" fmla="*/ 1223486 w 4188999"/>
              <a:gd name="connsiteY220" fmla="*/ 544352 h 1602377"/>
              <a:gd name="connsiteX221" fmla="*/ 1368552 w 4188999"/>
              <a:gd name="connsiteY221" fmla="*/ 687613 h 1602377"/>
              <a:gd name="connsiteX222" fmla="*/ 884111 w 4188999"/>
              <a:gd name="connsiteY222" fmla="*/ 697081 h 1602377"/>
              <a:gd name="connsiteX223" fmla="*/ 1106424 w 4188999"/>
              <a:gd name="connsiteY223" fmla="*/ 530149 h 1602377"/>
              <a:gd name="connsiteX224" fmla="*/ 993838 w 4188999"/>
              <a:gd name="connsiteY224" fmla="*/ 530149 h 1602377"/>
              <a:gd name="connsiteX225" fmla="*/ 886015 w 4188999"/>
              <a:gd name="connsiteY225" fmla="*/ 604099 h 1602377"/>
              <a:gd name="connsiteX226" fmla="*/ 761048 w 4188999"/>
              <a:gd name="connsiteY226" fmla="*/ 441901 h 1602377"/>
              <a:gd name="connsiteX227" fmla="*/ 888873 w 4188999"/>
              <a:gd name="connsiteY227" fmla="*/ 277810 h 1602377"/>
              <a:gd name="connsiteX228" fmla="*/ 993838 w 4188999"/>
              <a:gd name="connsiteY228" fmla="*/ 351760 h 1602377"/>
              <a:gd name="connsiteX229" fmla="*/ 1105472 w 4188999"/>
              <a:gd name="connsiteY229" fmla="*/ 351760 h 1602377"/>
              <a:gd name="connsiteX230" fmla="*/ 886968 w 4188999"/>
              <a:gd name="connsiteY230" fmla="*/ 184828 h 1602377"/>
              <a:gd name="connsiteX231" fmla="*/ 641795 w 4188999"/>
              <a:gd name="connsiteY231" fmla="*/ 441807 h 1602377"/>
              <a:gd name="connsiteX232" fmla="*/ 884111 w 4188999"/>
              <a:gd name="connsiteY232" fmla="*/ 697081 h 1602377"/>
              <a:gd name="connsiteX233" fmla="*/ 208026 w 4188999"/>
              <a:gd name="connsiteY233" fmla="*/ 444837 h 1602377"/>
              <a:gd name="connsiteX234" fmla="*/ 252889 w 4188999"/>
              <a:gd name="connsiteY234" fmla="*/ 314927 h 1602377"/>
              <a:gd name="connsiteX235" fmla="*/ 312039 w 4188999"/>
              <a:gd name="connsiteY235" fmla="*/ 143261 h 1602377"/>
              <a:gd name="connsiteX236" fmla="*/ 312992 w 4188999"/>
              <a:gd name="connsiteY236" fmla="*/ 143261 h 1602377"/>
              <a:gd name="connsiteX237" fmla="*/ 372142 w 4188999"/>
              <a:gd name="connsiteY237" fmla="*/ 313980 h 1602377"/>
              <a:gd name="connsiteX238" fmla="*/ 417005 w 4188999"/>
              <a:gd name="connsiteY238" fmla="*/ 444837 h 1602377"/>
              <a:gd name="connsiteX239" fmla="*/ 208026 w 4188999"/>
              <a:gd name="connsiteY239" fmla="*/ 444837 h 1602377"/>
              <a:gd name="connsiteX240" fmla="*/ 0 w 4188999"/>
              <a:gd name="connsiteY240" fmla="*/ 682878 h 1602377"/>
              <a:gd name="connsiteX241" fmla="*/ 124968 w 4188999"/>
              <a:gd name="connsiteY241" fmla="*/ 682878 h 1602377"/>
              <a:gd name="connsiteX242" fmla="*/ 172688 w 4188999"/>
              <a:gd name="connsiteY242" fmla="*/ 544447 h 1602377"/>
              <a:gd name="connsiteX243" fmla="*/ 451295 w 4188999"/>
              <a:gd name="connsiteY243" fmla="*/ 544447 h 1602377"/>
              <a:gd name="connsiteX244" fmla="*/ 499015 w 4188999"/>
              <a:gd name="connsiteY244" fmla="*/ 682878 h 1602377"/>
              <a:gd name="connsiteX245" fmla="*/ 626840 w 4188999"/>
              <a:gd name="connsiteY245" fmla="*/ 682878 h 1602377"/>
              <a:gd name="connsiteX246" fmla="*/ 380714 w 4188999"/>
              <a:gd name="connsiteY246" fmla="*/ 18937 h 1602377"/>
              <a:gd name="connsiteX247" fmla="*/ 248984 w 4188999"/>
              <a:gd name="connsiteY247" fmla="*/ 18937 h 1602377"/>
              <a:gd name="connsiteX248" fmla="*/ 0 w 4188999"/>
              <a:gd name="connsiteY248" fmla="*/ 682878 h 160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4188999" h="1602377">
                <a:moveTo>
                  <a:pt x="4115562" y="1595750"/>
                </a:moveTo>
                <a:cubicBezTo>
                  <a:pt x="4155662" y="1595750"/>
                  <a:pt x="4189000" y="1563462"/>
                  <a:pt x="4189000" y="1522747"/>
                </a:cubicBezTo>
                <a:cubicBezTo>
                  <a:pt x="4189000" y="1482884"/>
                  <a:pt x="4155567" y="1450690"/>
                  <a:pt x="4115562" y="1450690"/>
                </a:cubicBezTo>
                <a:cubicBezTo>
                  <a:pt x="4075462" y="1450690"/>
                  <a:pt x="4042124" y="1482978"/>
                  <a:pt x="4042124" y="1522747"/>
                </a:cubicBezTo>
                <a:cubicBezTo>
                  <a:pt x="4042124" y="1563556"/>
                  <a:pt x="4075462" y="1595750"/>
                  <a:pt x="4115562" y="1595750"/>
                </a:cubicBezTo>
                <a:moveTo>
                  <a:pt x="3601307" y="1296067"/>
                </a:moveTo>
                <a:cubicBezTo>
                  <a:pt x="3611785" y="1227798"/>
                  <a:pt x="3664268" y="1179414"/>
                  <a:pt x="3731038" y="1179414"/>
                </a:cubicBezTo>
                <a:cubicBezTo>
                  <a:pt x="3803523" y="1179414"/>
                  <a:pt x="3849338" y="1225905"/>
                  <a:pt x="3859816" y="1296067"/>
                </a:cubicBezTo>
                <a:lnTo>
                  <a:pt x="3601307" y="1296067"/>
                </a:lnTo>
                <a:close/>
                <a:moveTo>
                  <a:pt x="3735800" y="1602378"/>
                </a:moveTo>
                <a:cubicBezTo>
                  <a:pt x="3856006" y="1602378"/>
                  <a:pt x="3934206" y="1544524"/>
                  <a:pt x="3960019" y="1462053"/>
                </a:cubicBezTo>
                <a:lnTo>
                  <a:pt x="3839813" y="1462053"/>
                </a:lnTo>
                <a:cubicBezTo>
                  <a:pt x="3824573" y="1490459"/>
                  <a:pt x="3793046" y="1513278"/>
                  <a:pt x="3737705" y="1513278"/>
                </a:cubicBezTo>
                <a:cubicBezTo>
                  <a:pt x="3661410" y="1513278"/>
                  <a:pt x="3605117" y="1459212"/>
                  <a:pt x="3599403" y="1378634"/>
                </a:cubicBezTo>
                <a:lnTo>
                  <a:pt x="3973354" y="1378634"/>
                </a:lnTo>
                <a:cubicBezTo>
                  <a:pt x="3971449" y="1194658"/>
                  <a:pt x="3874103" y="1089367"/>
                  <a:pt x="3728180" y="1089367"/>
                </a:cubicBezTo>
                <a:cubicBezTo>
                  <a:pt x="3595592" y="1089367"/>
                  <a:pt x="3483959" y="1195605"/>
                  <a:pt x="3483959" y="1347387"/>
                </a:cubicBezTo>
                <a:cubicBezTo>
                  <a:pt x="3483959" y="1500022"/>
                  <a:pt x="3580353" y="1602378"/>
                  <a:pt x="3735800" y="1602378"/>
                </a:cubicBezTo>
                <a:moveTo>
                  <a:pt x="3363754" y="1592909"/>
                </a:moveTo>
                <a:cubicBezTo>
                  <a:pt x="3390424" y="1592909"/>
                  <a:pt x="3420047" y="1589122"/>
                  <a:pt x="3436239" y="1583441"/>
                </a:cubicBezTo>
                <a:lnTo>
                  <a:pt x="3436239" y="1500969"/>
                </a:lnTo>
                <a:cubicBezTo>
                  <a:pt x="3420047" y="1503809"/>
                  <a:pt x="3405664" y="1505703"/>
                  <a:pt x="3394234" y="1505703"/>
                </a:cubicBezTo>
                <a:cubicBezTo>
                  <a:pt x="3346514" y="1505703"/>
                  <a:pt x="3329369" y="1479191"/>
                  <a:pt x="3329369" y="1428912"/>
                </a:cubicBezTo>
                <a:lnTo>
                  <a:pt x="3329369" y="1191818"/>
                </a:lnTo>
                <a:lnTo>
                  <a:pt x="3426714" y="1191818"/>
                </a:lnTo>
                <a:lnTo>
                  <a:pt x="3426714" y="1103570"/>
                </a:lnTo>
                <a:lnTo>
                  <a:pt x="3329369" y="1103570"/>
                </a:lnTo>
                <a:lnTo>
                  <a:pt x="3329369" y="961256"/>
                </a:lnTo>
                <a:lnTo>
                  <a:pt x="3218688" y="961256"/>
                </a:lnTo>
                <a:lnTo>
                  <a:pt x="3218688" y="1103570"/>
                </a:lnTo>
                <a:lnTo>
                  <a:pt x="3135725" y="1103570"/>
                </a:lnTo>
                <a:lnTo>
                  <a:pt x="3135725" y="1191818"/>
                </a:lnTo>
                <a:lnTo>
                  <a:pt x="3218688" y="1191818"/>
                </a:lnTo>
                <a:lnTo>
                  <a:pt x="3218688" y="1449743"/>
                </a:lnTo>
                <a:cubicBezTo>
                  <a:pt x="3218688" y="1556928"/>
                  <a:pt x="3284601" y="1592909"/>
                  <a:pt x="3363754" y="1592909"/>
                </a:cubicBezTo>
                <a:moveTo>
                  <a:pt x="2815209" y="1602378"/>
                </a:moveTo>
                <a:cubicBezTo>
                  <a:pt x="2879122" y="1602378"/>
                  <a:pt x="2925890" y="1576813"/>
                  <a:pt x="2952560" y="1528428"/>
                </a:cubicBezTo>
                <a:lnTo>
                  <a:pt x="2952560" y="1588175"/>
                </a:lnTo>
                <a:lnTo>
                  <a:pt x="3064193" y="1588175"/>
                </a:lnTo>
                <a:lnTo>
                  <a:pt x="3064193" y="1103570"/>
                </a:lnTo>
                <a:lnTo>
                  <a:pt x="2950655" y="1103570"/>
                </a:lnTo>
                <a:lnTo>
                  <a:pt x="2950655" y="1372006"/>
                </a:lnTo>
                <a:cubicBezTo>
                  <a:pt x="2950655" y="1469722"/>
                  <a:pt x="2899124" y="1509490"/>
                  <a:pt x="2848547" y="1509490"/>
                </a:cubicBezTo>
                <a:cubicBezTo>
                  <a:pt x="2791301" y="1509490"/>
                  <a:pt x="2766536" y="1471521"/>
                  <a:pt x="2766536" y="1407040"/>
                </a:cubicBezTo>
                <a:lnTo>
                  <a:pt x="2766536" y="1103570"/>
                </a:lnTo>
                <a:lnTo>
                  <a:pt x="2652998" y="1103570"/>
                </a:lnTo>
                <a:lnTo>
                  <a:pt x="2652998" y="1424178"/>
                </a:lnTo>
                <a:cubicBezTo>
                  <a:pt x="2652998" y="1541684"/>
                  <a:pt x="2719769" y="1602378"/>
                  <a:pt x="2815209" y="1602378"/>
                </a:cubicBezTo>
                <a:moveTo>
                  <a:pt x="2499360" y="1592909"/>
                </a:moveTo>
                <a:cubicBezTo>
                  <a:pt x="2526030" y="1592909"/>
                  <a:pt x="2555653" y="1589122"/>
                  <a:pt x="2571845" y="1583441"/>
                </a:cubicBezTo>
                <a:lnTo>
                  <a:pt x="2571845" y="1500969"/>
                </a:lnTo>
                <a:cubicBezTo>
                  <a:pt x="2555653" y="1503809"/>
                  <a:pt x="2541270" y="1505703"/>
                  <a:pt x="2529840" y="1505703"/>
                </a:cubicBezTo>
                <a:cubicBezTo>
                  <a:pt x="2482120" y="1505703"/>
                  <a:pt x="2464975" y="1479191"/>
                  <a:pt x="2464975" y="1428912"/>
                </a:cubicBezTo>
                <a:lnTo>
                  <a:pt x="2464975" y="1191818"/>
                </a:lnTo>
                <a:lnTo>
                  <a:pt x="2562320" y="1191818"/>
                </a:lnTo>
                <a:lnTo>
                  <a:pt x="2562320" y="1103570"/>
                </a:lnTo>
                <a:lnTo>
                  <a:pt x="2465070" y="1103570"/>
                </a:lnTo>
                <a:lnTo>
                  <a:pt x="2465070" y="961256"/>
                </a:lnTo>
                <a:lnTo>
                  <a:pt x="2354390" y="961256"/>
                </a:lnTo>
                <a:lnTo>
                  <a:pt x="2354390" y="1103570"/>
                </a:lnTo>
                <a:lnTo>
                  <a:pt x="2271427" y="1103570"/>
                </a:lnTo>
                <a:lnTo>
                  <a:pt x="2271427" y="1191818"/>
                </a:lnTo>
                <a:lnTo>
                  <a:pt x="2354390" y="1191818"/>
                </a:lnTo>
                <a:lnTo>
                  <a:pt x="2354390" y="1449743"/>
                </a:lnTo>
                <a:cubicBezTo>
                  <a:pt x="2354390" y="1556928"/>
                  <a:pt x="2420207" y="1592909"/>
                  <a:pt x="2499360" y="1592909"/>
                </a:cubicBezTo>
                <a:moveTo>
                  <a:pt x="2069116" y="980194"/>
                </a:moveTo>
                <a:cubicBezTo>
                  <a:pt x="2069116" y="1021003"/>
                  <a:pt x="2102549" y="1054144"/>
                  <a:pt x="2143506" y="1054144"/>
                </a:cubicBezTo>
                <a:cubicBezTo>
                  <a:pt x="2184559" y="1054144"/>
                  <a:pt x="2217896" y="1020909"/>
                  <a:pt x="2217896" y="980194"/>
                </a:cubicBezTo>
                <a:cubicBezTo>
                  <a:pt x="2217896" y="938437"/>
                  <a:pt x="2184464" y="905297"/>
                  <a:pt x="2143506" y="905297"/>
                </a:cubicBezTo>
                <a:cubicBezTo>
                  <a:pt x="2102549" y="905297"/>
                  <a:pt x="2069116" y="938532"/>
                  <a:pt x="2069116" y="980194"/>
                </a:cubicBezTo>
                <a:moveTo>
                  <a:pt x="2087213" y="1588175"/>
                </a:moveTo>
                <a:lnTo>
                  <a:pt x="2199799" y="1588175"/>
                </a:lnTo>
                <a:lnTo>
                  <a:pt x="2199799" y="1103570"/>
                </a:lnTo>
                <a:lnTo>
                  <a:pt x="2087213" y="1103570"/>
                </a:lnTo>
                <a:lnTo>
                  <a:pt x="2087213" y="1588175"/>
                </a:lnTo>
                <a:close/>
                <a:moveTo>
                  <a:pt x="1928908" y="1592909"/>
                </a:moveTo>
                <a:cubicBezTo>
                  <a:pt x="1955578" y="1592909"/>
                  <a:pt x="1985201" y="1589122"/>
                  <a:pt x="2001393" y="1583441"/>
                </a:cubicBezTo>
                <a:lnTo>
                  <a:pt x="2001393" y="1500969"/>
                </a:lnTo>
                <a:cubicBezTo>
                  <a:pt x="1985201" y="1503809"/>
                  <a:pt x="1970818" y="1505703"/>
                  <a:pt x="1959388" y="1505703"/>
                </a:cubicBezTo>
                <a:cubicBezTo>
                  <a:pt x="1911668" y="1505703"/>
                  <a:pt x="1894523" y="1479191"/>
                  <a:pt x="1894523" y="1428912"/>
                </a:cubicBezTo>
                <a:lnTo>
                  <a:pt x="1894523" y="1191818"/>
                </a:lnTo>
                <a:lnTo>
                  <a:pt x="1991868" y="1191818"/>
                </a:lnTo>
                <a:lnTo>
                  <a:pt x="1991868" y="1103570"/>
                </a:lnTo>
                <a:lnTo>
                  <a:pt x="1894523" y="1103570"/>
                </a:lnTo>
                <a:lnTo>
                  <a:pt x="1894523" y="961256"/>
                </a:lnTo>
                <a:lnTo>
                  <a:pt x="1783842" y="961256"/>
                </a:lnTo>
                <a:lnTo>
                  <a:pt x="1783842" y="1103570"/>
                </a:lnTo>
                <a:lnTo>
                  <a:pt x="1700879" y="1103570"/>
                </a:lnTo>
                <a:lnTo>
                  <a:pt x="1700879" y="1191818"/>
                </a:lnTo>
                <a:lnTo>
                  <a:pt x="1783842" y="1191818"/>
                </a:lnTo>
                <a:lnTo>
                  <a:pt x="1783842" y="1449743"/>
                </a:lnTo>
                <a:cubicBezTo>
                  <a:pt x="1783842" y="1556928"/>
                  <a:pt x="1849660" y="1592909"/>
                  <a:pt x="1928908" y="1592909"/>
                </a:cubicBezTo>
                <a:moveTo>
                  <a:pt x="1450848" y="1602378"/>
                </a:moveTo>
                <a:cubicBezTo>
                  <a:pt x="1573911" y="1602378"/>
                  <a:pt x="1666494" y="1541684"/>
                  <a:pt x="1666494" y="1444914"/>
                </a:cubicBezTo>
                <a:cubicBezTo>
                  <a:pt x="1666494" y="1360549"/>
                  <a:pt x="1595914" y="1322579"/>
                  <a:pt x="1488091" y="1298813"/>
                </a:cubicBezTo>
                <a:lnTo>
                  <a:pt x="1428941" y="1285557"/>
                </a:lnTo>
                <a:cubicBezTo>
                  <a:pt x="1374553" y="1274195"/>
                  <a:pt x="1351693" y="1260939"/>
                  <a:pt x="1351693" y="1229598"/>
                </a:cubicBezTo>
                <a:cubicBezTo>
                  <a:pt x="1351693" y="1194469"/>
                  <a:pt x="1387031" y="1172691"/>
                  <a:pt x="1435608" y="1172691"/>
                </a:cubicBezTo>
                <a:cubicBezTo>
                  <a:pt x="1489996" y="1172691"/>
                  <a:pt x="1524381" y="1195416"/>
                  <a:pt x="1535811" y="1234332"/>
                </a:cubicBezTo>
                <a:lnTo>
                  <a:pt x="1649349" y="1234332"/>
                </a:lnTo>
                <a:cubicBezTo>
                  <a:pt x="1637919" y="1155647"/>
                  <a:pt x="1566386" y="1090219"/>
                  <a:pt x="1436561" y="1090219"/>
                </a:cubicBezTo>
                <a:cubicBezTo>
                  <a:pt x="1318260" y="1090219"/>
                  <a:pt x="1236155" y="1150913"/>
                  <a:pt x="1236155" y="1236320"/>
                </a:cubicBezTo>
                <a:cubicBezTo>
                  <a:pt x="1236155" y="1316898"/>
                  <a:pt x="1294352" y="1357708"/>
                  <a:pt x="1400270" y="1380433"/>
                </a:cubicBezTo>
                <a:lnTo>
                  <a:pt x="1457516" y="1392742"/>
                </a:lnTo>
                <a:cubicBezTo>
                  <a:pt x="1526191" y="1406945"/>
                  <a:pt x="1551051" y="1423137"/>
                  <a:pt x="1551051" y="1456277"/>
                </a:cubicBezTo>
                <a:cubicBezTo>
                  <a:pt x="1551051" y="1496140"/>
                  <a:pt x="1511903" y="1518864"/>
                  <a:pt x="1456563" y="1518864"/>
                </a:cubicBezTo>
                <a:cubicBezTo>
                  <a:pt x="1386935" y="1518864"/>
                  <a:pt x="1349693" y="1485629"/>
                  <a:pt x="1341120" y="1437339"/>
                </a:cubicBezTo>
                <a:lnTo>
                  <a:pt x="1219010" y="1437339"/>
                </a:lnTo>
                <a:cubicBezTo>
                  <a:pt x="1226630" y="1534109"/>
                  <a:pt x="1309688" y="1602378"/>
                  <a:pt x="1450848" y="1602378"/>
                </a:cubicBezTo>
                <a:moveTo>
                  <a:pt x="720090" y="1588175"/>
                </a:moveTo>
                <a:lnTo>
                  <a:pt x="833628" y="1588175"/>
                </a:lnTo>
                <a:lnTo>
                  <a:pt x="833628" y="1317845"/>
                </a:lnTo>
                <a:cubicBezTo>
                  <a:pt x="833628" y="1222023"/>
                  <a:pt x="887063" y="1182254"/>
                  <a:pt x="943356" y="1182254"/>
                </a:cubicBezTo>
                <a:cubicBezTo>
                  <a:pt x="1002506" y="1182254"/>
                  <a:pt x="1023461" y="1222117"/>
                  <a:pt x="1023461" y="1275236"/>
                </a:cubicBezTo>
                <a:lnTo>
                  <a:pt x="1023461" y="1588175"/>
                </a:lnTo>
                <a:lnTo>
                  <a:pt x="1137952" y="1588175"/>
                </a:lnTo>
                <a:lnTo>
                  <a:pt x="1137952" y="1265673"/>
                </a:lnTo>
                <a:cubicBezTo>
                  <a:pt x="1137952" y="1151860"/>
                  <a:pt x="1074039" y="1089272"/>
                  <a:pt x="975741" y="1089272"/>
                </a:cubicBezTo>
                <a:cubicBezTo>
                  <a:pt x="905161" y="1089272"/>
                  <a:pt x="856488" y="1125348"/>
                  <a:pt x="830675" y="1166063"/>
                </a:cubicBezTo>
                <a:lnTo>
                  <a:pt x="830675" y="1103475"/>
                </a:lnTo>
                <a:lnTo>
                  <a:pt x="720090" y="1103475"/>
                </a:lnTo>
                <a:lnTo>
                  <a:pt x="720090" y="1588175"/>
                </a:lnTo>
                <a:close/>
                <a:moveTo>
                  <a:pt x="471964" y="1588175"/>
                </a:moveTo>
                <a:lnTo>
                  <a:pt x="591217" y="1588175"/>
                </a:lnTo>
                <a:lnTo>
                  <a:pt x="591217" y="924329"/>
                </a:lnTo>
                <a:lnTo>
                  <a:pt x="471964" y="924329"/>
                </a:lnTo>
                <a:lnTo>
                  <a:pt x="471964" y="1588175"/>
                </a:lnTo>
                <a:close/>
                <a:moveTo>
                  <a:pt x="3960971" y="697081"/>
                </a:moveTo>
                <a:cubicBezTo>
                  <a:pt x="4084034" y="697081"/>
                  <a:pt x="4176617" y="636387"/>
                  <a:pt x="4176617" y="539618"/>
                </a:cubicBezTo>
                <a:cubicBezTo>
                  <a:pt x="4176617" y="455157"/>
                  <a:pt x="4106037" y="417283"/>
                  <a:pt x="3998214" y="393517"/>
                </a:cubicBezTo>
                <a:lnTo>
                  <a:pt x="3939064" y="380261"/>
                </a:lnTo>
                <a:cubicBezTo>
                  <a:pt x="3884676" y="368898"/>
                  <a:pt x="3861816" y="355642"/>
                  <a:pt x="3861816" y="324301"/>
                </a:cubicBezTo>
                <a:cubicBezTo>
                  <a:pt x="3861816" y="289172"/>
                  <a:pt x="3897154" y="267394"/>
                  <a:pt x="3945731" y="267394"/>
                </a:cubicBezTo>
                <a:cubicBezTo>
                  <a:pt x="4000119" y="267394"/>
                  <a:pt x="4034504" y="290119"/>
                  <a:pt x="4045934" y="329035"/>
                </a:cubicBezTo>
                <a:lnTo>
                  <a:pt x="4159472" y="329035"/>
                </a:lnTo>
                <a:cubicBezTo>
                  <a:pt x="4148042" y="250351"/>
                  <a:pt x="4076510" y="184923"/>
                  <a:pt x="3946684" y="184923"/>
                </a:cubicBezTo>
                <a:cubicBezTo>
                  <a:pt x="3828383" y="184923"/>
                  <a:pt x="3746278" y="245617"/>
                  <a:pt x="3746278" y="331024"/>
                </a:cubicBezTo>
                <a:cubicBezTo>
                  <a:pt x="3746278" y="411602"/>
                  <a:pt x="3804476" y="452412"/>
                  <a:pt x="3910394" y="475136"/>
                </a:cubicBezTo>
                <a:lnTo>
                  <a:pt x="3967639" y="487446"/>
                </a:lnTo>
                <a:cubicBezTo>
                  <a:pt x="4036314" y="501649"/>
                  <a:pt x="4061174" y="517840"/>
                  <a:pt x="4061174" y="550980"/>
                </a:cubicBezTo>
                <a:cubicBezTo>
                  <a:pt x="4061174" y="590843"/>
                  <a:pt x="4022027" y="613568"/>
                  <a:pt x="3966686" y="613568"/>
                </a:cubicBezTo>
                <a:cubicBezTo>
                  <a:pt x="3897059" y="613568"/>
                  <a:pt x="3859816" y="580333"/>
                  <a:pt x="3851243" y="532043"/>
                </a:cubicBezTo>
                <a:lnTo>
                  <a:pt x="3729133" y="532043"/>
                </a:lnTo>
                <a:cubicBezTo>
                  <a:pt x="3736848" y="628812"/>
                  <a:pt x="3819811" y="697081"/>
                  <a:pt x="3960971" y="697081"/>
                </a:cubicBezTo>
                <a:moveTo>
                  <a:pt x="3307747" y="390771"/>
                </a:moveTo>
                <a:cubicBezTo>
                  <a:pt x="3318224" y="322502"/>
                  <a:pt x="3370707" y="274117"/>
                  <a:pt x="3437478" y="274117"/>
                </a:cubicBezTo>
                <a:cubicBezTo>
                  <a:pt x="3509963" y="274117"/>
                  <a:pt x="3555778" y="320608"/>
                  <a:pt x="3566255" y="390771"/>
                </a:cubicBezTo>
                <a:lnTo>
                  <a:pt x="3307747" y="390771"/>
                </a:lnTo>
                <a:close/>
                <a:moveTo>
                  <a:pt x="3442240" y="697081"/>
                </a:moveTo>
                <a:cubicBezTo>
                  <a:pt x="3562445" y="697081"/>
                  <a:pt x="3640646" y="639228"/>
                  <a:pt x="3666458" y="556756"/>
                </a:cubicBezTo>
                <a:lnTo>
                  <a:pt x="3546253" y="556756"/>
                </a:lnTo>
                <a:cubicBezTo>
                  <a:pt x="3531013" y="585257"/>
                  <a:pt x="3499485" y="607981"/>
                  <a:pt x="3444145" y="607981"/>
                </a:cubicBezTo>
                <a:cubicBezTo>
                  <a:pt x="3367849" y="607981"/>
                  <a:pt x="3311557" y="553915"/>
                  <a:pt x="3305842" y="473337"/>
                </a:cubicBezTo>
                <a:lnTo>
                  <a:pt x="3679889" y="473337"/>
                </a:lnTo>
                <a:cubicBezTo>
                  <a:pt x="3677984" y="289362"/>
                  <a:pt x="3580638" y="184070"/>
                  <a:pt x="3434715" y="184070"/>
                </a:cubicBezTo>
                <a:cubicBezTo>
                  <a:pt x="3302127" y="184070"/>
                  <a:pt x="3190494" y="290308"/>
                  <a:pt x="3190494" y="441996"/>
                </a:cubicBezTo>
                <a:cubicBezTo>
                  <a:pt x="3190399" y="594631"/>
                  <a:pt x="3286792" y="697081"/>
                  <a:pt x="3442240" y="697081"/>
                </a:cubicBezTo>
                <a:moveTo>
                  <a:pt x="2968371" y="74897"/>
                </a:moveTo>
                <a:cubicBezTo>
                  <a:pt x="2968371" y="115707"/>
                  <a:pt x="3001804" y="148847"/>
                  <a:pt x="3042761" y="148847"/>
                </a:cubicBezTo>
                <a:cubicBezTo>
                  <a:pt x="3083814" y="148847"/>
                  <a:pt x="3117152" y="115612"/>
                  <a:pt x="3117152" y="74897"/>
                </a:cubicBezTo>
                <a:cubicBezTo>
                  <a:pt x="3117152" y="33140"/>
                  <a:pt x="3083719" y="0"/>
                  <a:pt x="3042761" y="0"/>
                </a:cubicBezTo>
                <a:cubicBezTo>
                  <a:pt x="3001804" y="0"/>
                  <a:pt x="2968371" y="33235"/>
                  <a:pt x="2968371" y="74897"/>
                </a:cubicBezTo>
                <a:moveTo>
                  <a:pt x="2986469" y="682878"/>
                </a:moveTo>
                <a:lnTo>
                  <a:pt x="3099054" y="682878"/>
                </a:lnTo>
                <a:lnTo>
                  <a:pt x="3099054" y="198179"/>
                </a:lnTo>
                <a:lnTo>
                  <a:pt x="2986469" y="198179"/>
                </a:lnTo>
                <a:lnTo>
                  <a:pt x="2986469" y="682878"/>
                </a:lnTo>
                <a:close/>
                <a:moveTo>
                  <a:pt x="2628995" y="682878"/>
                </a:moveTo>
                <a:lnTo>
                  <a:pt x="2742533" y="682878"/>
                </a:lnTo>
                <a:lnTo>
                  <a:pt x="2742533" y="463774"/>
                </a:lnTo>
                <a:cubicBezTo>
                  <a:pt x="2742533" y="377420"/>
                  <a:pt x="2767298" y="320513"/>
                  <a:pt x="2826449" y="299682"/>
                </a:cubicBezTo>
                <a:cubicBezTo>
                  <a:pt x="2850261" y="291161"/>
                  <a:pt x="2878931" y="289267"/>
                  <a:pt x="2913316" y="292108"/>
                </a:cubicBezTo>
                <a:lnTo>
                  <a:pt x="2913316" y="183976"/>
                </a:lnTo>
                <a:cubicBezTo>
                  <a:pt x="2828354" y="179241"/>
                  <a:pt x="2771204" y="211435"/>
                  <a:pt x="2739676" y="297789"/>
                </a:cubicBezTo>
                <a:lnTo>
                  <a:pt x="2739676" y="198179"/>
                </a:lnTo>
                <a:lnTo>
                  <a:pt x="2628995" y="198179"/>
                </a:lnTo>
                <a:lnTo>
                  <a:pt x="2628995" y="682878"/>
                </a:lnTo>
                <a:close/>
                <a:moveTo>
                  <a:pt x="2140744" y="440102"/>
                </a:moveTo>
                <a:cubicBezTo>
                  <a:pt x="2140744" y="339545"/>
                  <a:pt x="2184654" y="275064"/>
                  <a:pt x="2264759" y="275064"/>
                </a:cubicBezTo>
                <a:cubicBezTo>
                  <a:pt x="2340102" y="275064"/>
                  <a:pt x="2392585" y="344280"/>
                  <a:pt x="2392585" y="440102"/>
                </a:cubicBezTo>
                <a:cubicBezTo>
                  <a:pt x="2392585" y="536872"/>
                  <a:pt x="2340102" y="607034"/>
                  <a:pt x="2264759" y="607034"/>
                </a:cubicBezTo>
                <a:cubicBezTo>
                  <a:pt x="2184654" y="607034"/>
                  <a:pt x="2140744" y="541511"/>
                  <a:pt x="2140744" y="440102"/>
                </a:cubicBezTo>
                <a:moveTo>
                  <a:pt x="2242852" y="697081"/>
                </a:moveTo>
                <a:cubicBezTo>
                  <a:pt x="2313432" y="697081"/>
                  <a:pt x="2364962" y="665740"/>
                  <a:pt x="2390775" y="622184"/>
                </a:cubicBezTo>
                <a:lnTo>
                  <a:pt x="2390775" y="682878"/>
                </a:lnTo>
                <a:lnTo>
                  <a:pt x="2505266" y="682878"/>
                </a:lnTo>
                <a:lnTo>
                  <a:pt x="2505266" y="198179"/>
                </a:lnTo>
                <a:lnTo>
                  <a:pt x="2390775" y="198179"/>
                </a:lnTo>
                <a:lnTo>
                  <a:pt x="2390775" y="260766"/>
                </a:lnTo>
                <a:cubicBezTo>
                  <a:pt x="2365058" y="217116"/>
                  <a:pt x="2313527" y="183976"/>
                  <a:pt x="2242852" y="183976"/>
                </a:cubicBezTo>
                <a:cubicBezTo>
                  <a:pt x="2118836" y="183976"/>
                  <a:pt x="2024348" y="280745"/>
                  <a:pt x="2024348" y="440008"/>
                </a:cubicBezTo>
                <a:cubicBezTo>
                  <a:pt x="2024348" y="599270"/>
                  <a:pt x="2118836" y="697081"/>
                  <a:pt x="2242852" y="697081"/>
                </a:cubicBezTo>
                <a:moveTo>
                  <a:pt x="1683068" y="697081"/>
                </a:moveTo>
                <a:cubicBezTo>
                  <a:pt x="1746980" y="697081"/>
                  <a:pt x="1793748" y="671516"/>
                  <a:pt x="1820418" y="623131"/>
                </a:cubicBezTo>
                <a:lnTo>
                  <a:pt x="1820418" y="682878"/>
                </a:lnTo>
                <a:lnTo>
                  <a:pt x="1932051" y="682878"/>
                </a:lnTo>
                <a:lnTo>
                  <a:pt x="1932051" y="198179"/>
                </a:lnTo>
                <a:lnTo>
                  <a:pt x="1818513" y="198179"/>
                </a:lnTo>
                <a:lnTo>
                  <a:pt x="1818513" y="466615"/>
                </a:lnTo>
                <a:cubicBezTo>
                  <a:pt x="1818513" y="564331"/>
                  <a:pt x="1766983" y="604099"/>
                  <a:pt x="1716405" y="604099"/>
                </a:cubicBezTo>
                <a:cubicBezTo>
                  <a:pt x="1659160" y="604099"/>
                  <a:pt x="1634395" y="566130"/>
                  <a:pt x="1634395" y="501649"/>
                </a:cubicBezTo>
                <a:lnTo>
                  <a:pt x="1634395" y="198179"/>
                </a:lnTo>
                <a:lnTo>
                  <a:pt x="1520857" y="198179"/>
                </a:lnTo>
                <a:lnTo>
                  <a:pt x="1520857" y="518787"/>
                </a:lnTo>
                <a:cubicBezTo>
                  <a:pt x="1520952" y="636387"/>
                  <a:pt x="1587722" y="697081"/>
                  <a:pt x="1683068" y="697081"/>
                </a:cubicBezTo>
                <a:moveTo>
                  <a:pt x="1368552" y="687613"/>
                </a:moveTo>
                <a:cubicBezTo>
                  <a:pt x="1395222" y="687613"/>
                  <a:pt x="1424845" y="683825"/>
                  <a:pt x="1441037" y="678144"/>
                </a:cubicBezTo>
                <a:lnTo>
                  <a:pt x="1441037" y="595577"/>
                </a:lnTo>
                <a:cubicBezTo>
                  <a:pt x="1424845" y="598418"/>
                  <a:pt x="1410462" y="600312"/>
                  <a:pt x="1399032" y="600312"/>
                </a:cubicBezTo>
                <a:cubicBezTo>
                  <a:pt x="1351312" y="600312"/>
                  <a:pt x="1334167" y="573800"/>
                  <a:pt x="1334167" y="523521"/>
                </a:cubicBezTo>
                <a:lnTo>
                  <a:pt x="1334167" y="286426"/>
                </a:lnTo>
                <a:lnTo>
                  <a:pt x="1431512" y="286426"/>
                </a:lnTo>
                <a:lnTo>
                  <a:pt x="1431512" y="198179"/>
                </a:lnTo>
                <a:lnTo>
                  <a:pt x="1334167" y="198179"/>
                </a:lnTo>
                <a:lnTo>
                  <a:pt x="1334167" y="55960"/>
                </a:lnTo>
                <a:lnTo>
                  <a:pt x="1223486" y="55960"/>
                </a:lnTo>
                <a:lnTo>
                  <a:pt x="1223486" y="198179"/>
                </a:lnTo>
                <a:lnTo>
                  <a:pt x="1140524" y="198179"/>
                </a:lnTo>
                <a:lnTo>
                  <a:pt x="1140524" y="286426"/>
                </a:lnTo>
                <a:lnTo>
                  <a:pt x="1223486" y="286426"/>
                </a:lnTo>
                <a:lnTo>
                  <a:pt x="1223486" y="544352"/>
                </a:lnTo>
                <a:cubicBezTo>
                  <a:pt x="1223486" y="651537"/>
                  <a:pt x="1289399" y="687613"/>
                  <a:pt x="1368552" y="687613"/>
                </a:cubicBezTo>
                <a:moveTo>
                  <a:pt x="884111" y="697081"/>
                </a:moveTo>
                <a:cubicBezTo>
                  <a:pt x="1011936" y="697081"/>
                  <a:pt x="1093089" y="620291"/>
                  <a:pt x="1106424" y="530149"/>
                </a:cubicBezTo>
                <a:lnTo>
                  <a:pt x="993838" y="530149"/>
                </a:lnTo>
                <a:cubicBezTo>
                  <a:pt x="978599" y="572853"/>
                  <a:pt x="946118" y="604099"/>
                  <a:pt x="886015" y="604099"/>
                </a:cubicBezTo>
                <a:cubicBezTo>
                  <a:pt x="816388" y="604099"/>
                  <a:pt x="761048" y="548140"/>
                  <a:pt x="761048" y="441901"/>
                </a:cubicBezTo>
                <a:cubicBezTo>
                  <a:pt x="761048" y="334716"/>
                  <a:pt x="815435" y="277810"/>
                  <a:pt x="888873" y="277810"/>
                </a:cubicBezTo>
                <a:cubicBezTo>
                  <a:pt x="944213" y="277810"/>
                  <a:pt x="978599" y="308204"/>
                  <a:pt x="993838" y="351760"/>
                </a:cubicBezTo>
                <a:lnTo>
                  <a:pt x="1105472" y="351760"/>
                </a:lnTo>
                <a:cubicBezTo>
                  <a:pt x="1092137" y="260672"/>
                  <a:pt x="1013841" y="184828"/>
                  <a:pt x="886968" y="184828"/>
                </a:cubicBezTo>
                <a:cubicBezTo>
                  <a:pt x="746760" y="184828"/>
                  <a:pt x="641795" y="285385"/>
                  <a:pt x="641795" y="441807"/>
                </a:cubicBezTo>
                <a:cubicBezTo>
                  <a:pt x="641795" y="600312"/>
                  <a:pt x="744855" y="697081"/>
                  <a:pt x="884111" y="697081"/>
                </a:cubicBezTo>
                <a:moveTo>
                  <a:pt x="208026" y="444837"/>
                </a:moveTo>
                <a:lnTo>
                  <a:pt x="252889" y="314927"/>
                </a:lnTo>
                <a:cubicBezTo>
                  <a:pt x="271939" y="265595"/>
                  <a:pt x="290132" y="209636"/>
                  <a:pt x="312039" y="143261"/>
                </a:cubicBezTo>
                <a:lnTo>
                  <a:pt x="312992" y="143261"/>
                </a:lnTo>
                <a:cubicBezTo>
                  <a:pt x="335851" y="209636"/>
                  <a:pt x="354997" y="266542"/>
                  <a:pt x="372142" y="313980"/>
                </a:cubicBezTo>
                <a:lnTo>
                  <a:pt x="417005" y="444837"/>
                </a:lnTo>
                <a:lnTo>
                  <a:pt x="208026" y="444837"/>
                </a:lnTo>
                <a:close/>
                <a:moveTo>
                  <a:pt x="0" y="682878"/>
                </a:moveTo>
                <a:lnTo>
                  <a:pt x="124968" y="682878"/>
                </a:lnTo>
                <a:lnTo>
                  <a:pt x="172688" y="544447"/>
                </a:lnTo>
                <a:lnTo>
                  <a:pt x="451295" y="544447"/>
                </a:lnTo>
                <a:lnTo>
                  <a:pt x="499015" y="682878"/>
                </a:lnTo>
                <a:lnTo>
                  <a:pt x="626840" y="682878"/>
                </a:lnTo>
                <a:lnTo>
                  <a:pt x="380714" y="18937"/>
                </a:lnTo>
                <a:lnTo>
                  <a:pt x="248984" y="18937"/>
                </a:lnTo>
                <a:lnTo>
                  <a:pt x="0" y="682878"/>
                </a:lnTo>
                <a:close/>
              </a:path>
            </a:pathLst>
          </a:custGeom>
          <a:solidFill>
            <a:schemeClr val="bg1"/>
          </a:solidFill>
          <a:ln w="9525"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4FD21CF-524B-AB1F-E0AC-5C7A5BCD6430}"/>
              </a:ext>
            </a:extLst>
          </p:cNvPr>
          <p:cNvSpPr/>
          <p:nvPr userDrawn="1"/>
        </p:nvSpPr>
        <p:spPr>
          <a:xfrm>
            <a:off x="8188346" y="2855934"/>
            <a:ext cx="3692504" cy="3692504"/>
          </a:xfrm>
          <a:custGeom>
            <a:avLst/>
            <a:gdLst>
              <a:gd name="connsiteX0" fmla="*/ 1027937 w 2055876"/>
              <a:gd name="connsiteY0" fmla="*/ 436911 h 2055876"/>
              <a:gd name="connsiteX1" fmla="*/ 436911 w 2055876"/>
              <a:gd name="connsiteY1" fmla="*/ 1027937 h 2055876"/>
              <a:gd name="connsiteX2" fmla="*/ 1027937 w 2055876"/>
              <a:gd name="connsiteY2" fmla="*/ 1619059 h 2055876"/>
              <a:gd name="connsiteX3" fmla="*/ 1618964 w 2055876"/>
              <a:gd name="connsiteY3" fmla="*/ 1027937 h 2055876"/>
              <a:gd name="connsiteX4" fmla="*/ 1027937 w 2055876"/>
              <a:gd name="connsiteY4" fmla="*/ 436911 h 2055876"/>
              <a:gd name="connsiteX5" fmla="*/ 1027938 w 2055876"/>
              <a:gd name="connsiteY5" fmla="*/ 0 h 2055876"/>
              <a:gd name="connsiteX6" fmla="*/ 2055876 w 2055876"/>
              <a:gd name="connsiteY6" fmla="*/ 1027938 h 2055876"/>
              <a:gd name="connsiteX7" fmla="*/ 2055876 w 2055876"/>
              <a:gd name="connsiteY7" fmla="*/ 2055876 h 2055876"/>
              <a:gd name="connsiteX8" fmla="*/ 1027938 w 2055876"/>
              <a:gd name="connsiteY8" fmla="*/ 2055876 h 2055876"/>
              <a:gd name="connsiteX9" fmla="*/ 0 w 2055876"/>
              <a:gd name="connsiteY9" fmla="*/ 1027938 h 2055876"/>
              <a:gd name="connsiteX10" fmla="*/ 1027938 w 2055876"/>
              <a:gd name="connsiteY10" fmla="*/ 0 h 2055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5876" h="2055876">
                <a:moveTo>
                  <a:pt x="1027937" y="436911"/>
                </a:moveTo>
                <a:cubicBezTo>
                  <a:pt x="701516" y="436911"/>
                  <a:pt x="436911" y="701516"/>
                  <a:pt x="436911" y="1027937"/>
                </a:cubicBezTo>
                <a:cubicBezTo>
                  <a:pt x="436911" y="1354454"/>
                  <a:pt x="701516" y="1619059"/>
                  <a:pt x="1027937" y="1619059"/>
                </a:cubicBezTo>
                <a:cubicBezTo>
                  <a:pt x="1354359" y="1619059"/>
                  <a:pt x="1618964" y="1354454"/>
                  <a:pt x="1618964" y="1027937"/>
                </a:cubicBezTo>
                <a:cubicBezTo>
                  <a:pt x="1618964" y="701516"/>
                  <a:pt x="1354359" y="436911"/>
                  <a:pt x="1027937" y="436911"/>
                </a:cubicBezTo>
                <a:close/>
                <a:moveTo>
                  <a:pt x="1027938" y="0"/>
                </a:moveTo>
                <a:cubicBezTo>
                  <a:pt x="1595628" y="0"/>
                  <a:pt x="2055876" y="460248"/>
                  <a:pt x="2055876" y="1027938"/>
                </a:cubicBezTo>
                <a:lnTo>
                  <a:pt x="2055876" y="2055876"/>
                </a:lnTo>
                <a:lnTo>
                  <a:pt x="1027938" y="2055876"/>
                </a:lnTo>
                <a:cubicBezTo>
                  <a:pt x="460248" y="2055876"/>
                  <a:pt x="0" y="1595723"/>
                  <a:pt x="0" y="1027938"/>
                </a:cubicBezTo>
                <a:cubicBezTo>
                  <a:pt x="0" y="460248"/>
                  <a:pt x="460248" y="0"/>
                  <a:pt x="1027938" y="0"/>
                </a:cubicBezTo>
                <a:close/>
              </a:path>
            </a:pathLst>
          </a:custGeom>
          <a:solidFill>
            <a:schemeClr val="bg1"/>
          </a:solidFill>
          <a:ln w="9525" cap="flat">
            <a:noFill/>
            <a:prstDash val="solid"/>
            <a:miter/>
          </a:ln>
        </p:spPr>
        <p:txBody>
          <a:bodyPr rtlCol="0" anchor="ctr"/>
          <a:lstStyle/>
          <a:p>
            <a:endParaRPr lang="en-US"/>
          </a:p>
        </p:txBody>
      </p:sp>
      <p:sp>
        <p:nvSpPr>
          <p:cNvPr id="9" name="Subtitle 2">
            <a:extLst>
              <a:ext uri="{FF2B5EF4-FFF2-40B4-BE49-F238E27FC236}">
                <a16:creationId xmlns:a16="http://schemas.microsoft.com/office/drawing/2014/main" id="{ED8945BC-5907-F1EB-F3C3-F9E148C0C16F}"/>
              </a:ext>
            </a:extLst>
          </p:cNvPr>
          <p:cNvSpPr>
            <a:spLocks noGrp="1"/>
          </p:cNvSpPr>
          <p:nvPr>
            <p:ph type="subTitle" idx="1"/>
          </p:nvPr>
        </p:nvSpPr>
        <p:spPr>
          <a:xfrm>
            <a:off x="338464" y="1122801"/>
            <a:ext cx="5802764" cy="1598604"/>
          </a:xfrm>
        </p:spPr>
        <p:txBody>
          <a:bodyPr anchor="t" anchorCtr="0"/>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3" name="Footer Placeholder 4">
            <a:extLst>
              <a:ext uri="{FF2B5EF4-FFF2-40B4-BE49-F238E27FC236}">
                <a16:creationId xmlns:a16="http://schemas.microsoft.com/office/drawing/2014/main" id="{B9690DE6-400F-C9FE-AC94-D5789487857A}"/>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36249129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14323" y="269601"/>
            <a:ext cx="5781678" cy="886673"/>
          </a:xfrm>
        </p:spPr>
        <p:txBody>
          <a:bodyPr/>
          <a:lstStyle>
            <a:lvl1pPr>
              <a:defRPr sz="4200" b="0" i="0">
                <a:solidFill>
                  <a:schemeClr val="accent1"/>
                </a:solidFill>
                <a:latin typeface="+mj-lt"/>
              </a:defRPr>
            </a:lvl1pPr>
          </a:lstStyle>
          <a:p>
            <a:r>
              <a:rPr lang="en-US" dirty="0"/>
              <a:t>Click to edit Master</a:t>
            </a:r>
            <a:endParaRPr lang="en-GB" dirty="0"/>
          </a:p>
        </p:txBody>
      </p:sp>
      <p:sp>
        <p:nvSpPr>
          <p:cNvPr id="5" name="Graphic 11">
            <a:extLst>
              <a:ext uri="{FF2B5EF4-FFF2-40B4-BE49-F238E27FC236}">
                <a16:creationId xmlns:a16="http://schemas.microsoft.com/office/drawing/2014/main" id="{306EF912-77FF-EC72-7590-3D1604547AA0}"/>
              </a:ext>
            </a:extLst>
          </p:cNvPr>
          <p:cNvSpPr/>
          <p:nvPr userDrawn="1"/>
        </p:nvSpPr>
        <p:spPr>
          <a:xfrm>
            <a:off x="9244208" y="317500"/>
            <a:ext cx="2636642" cy="1008569"/>
          </a:xfrm>
          <a:custGeom>
            <a:avLst/>
            <a:gdLst>
              <a:gd name="connsiteX0" fmla="*/ 4115562 w 4188999"/>
              <a:gd name="connsiteY0" fmla="*/ 1595750 h 1602377"/>
              <a:gd name="connsiteX1" fmla="*/ 4189000 w 4188999"/>
              <a:gd name="connsiteY1" fmla="*/ 1522747 h 1602377"/>
              <a:gd name="connsiteX2" fmla="*/ 4115562 w 4188999"/>
              <a:gd name="connsiteY2" fmla="*/ 1450690 h 1602377"/>
              <a:gd name="connsiteX3" fmla="*/ 4042124 w 4188999"/>
              <a:gd name="connsiteY3" fmla="*/ 1522747 h 1602377"/>
              <a:gd name="connsiteX4" fmla="*/ 4115562 w 4188999"/>
              <a:gd name="connsiteY4" fmla="*/ 1595750 h 1602377"/>
              <a:gd name="connsiteX5" fmla="*/ 3601307 w 4188999"/>
              <a:gd name="connsiteY5" fmla="*/ 1296067 h 1602377"/>
              <a:gd name="connsiteX6" fmla="*/ 3731038 w 4188999"/>
              <a:gd name="connsiteY6" fmla="*/ 1179414 h 1602377"/>
              <a:gd name="connsiteX7" fmla="*/ 3859816 w 4188999"/>
              <a:gd name="connsiteY7" fmla="*/ 1296067 h 1602377"/>
              <a:gd name="connsiteX8" fmla="*/ 3601307 w 4188999"/>
              <a:gd name="connsiteY8" fmla="*/ 1296067 h 1602377"/>
              <a:gd name="connsiteX9" fmla="*/ 3735800 w 4188999"/>
              <a:gd name="connsiteY9" fmla="*/ 1602378 h 1602377"/>
              <a:gd name="connsiteX10" fmla="*/ 3960019 w 4188999"/>
              <a:gd name="connsiteY10" fmla="*/ 1462053 h 1602377"/>
              <a:gd name="connsiteX11" fmla="*/ 3839813 w 4188999"/>
              <a:gd name="connsiteY11" fmla="*/ 1462053 h 1602377"/>
              <a:gd name="connsiteX12" fmla="*/ 3737705 w 4188999"/>
              <a:gd name="connsiteY12" fmla="*/ 1513278 h 1602377"/>
              <a:gd name="connsiteX13" fmla="*/ 3599403 w 4188999"/>
              <a:gd name="connsiteY13" fmla="*/ 1378634 h 1602377"/>
              <a:gd name="connsiteX14" fmla="*/ 3973354 w 4188999"/>
              <a:gd name="connsiteY14" fmla="*/ 1378634 h 1602377"/>
              <a:gd name="connsiteX15" fmla="*/ 3728180 w 4188999"/>
              <a:gd name="connsiteY15" fmla="*/ 1089367 h 1602377"/>
              <a:gd name="connsiteX16" fmla="*/ 3483959 w 4188999"/>
              <a:gd name="connsiteY16" fmla="*/ 1347387 h 1602377"/>
              <a:gd name="connsiteX17" fmla="*/ 3735800 w 4188999"/>
              <a:gd name="connsiteY17" fmla="*/ 1602378 h 1602377"/>
              <a:gd name="connsiteX18" fmla="*/ 3363754 w 4188999"/>
              <a:gd name="connsiteY18" fmla="*/ 1592909 h 1602377"/>
              <a:gd name="connsiteX19" fmla="*/ 3436239 w 4188999"/>
              <a:gd name="connsiteY19" fmla="*/ 1583441 h 1602377"/>
              <a:gd name="connsiteX20" fmla="*/ 3436239 w 4188999"/>
              <a:gd name="connsiteY20" fmla="*/ 1500969 h 1602377"/>
              <a:gd name="connsiteX21" fmla="*/ 3394234 w 4188999"/>
              <a:gd name="connsiteY21" fmla="*/ 1505703 h 1602377"/>
              <a:gd name="connsiteX22" fmla="*/ 3329369 w 4188999"/>
              <a:gd name="connsiteY22" fmla="*/ 1428912 h 1602377"/>
              <a:gd name="connsiteX23" fmla="*/ 3329369 w 4188999"/>
              <a:gd name="connsiteY23" fmla="*/ 1191818 h 1602377"/>
              <a:gd name="connsiteX24" fmla="*/ 3426714 w 4188999"/>
              <a:gd name="connsiteY24" fmla="*/ 1191818 h 1602377"/>
              <a:gd name="connsiteX25" fmla="*/ 3426714 w 4188999"/>
              <a:gd name="connsiteY25" fmla="*/ 1103570 h 1602377"/>
              <a:gd name="connsiteX26" fmla="*/ 3329369 w 4188999"/>
              <a:gd name="connsiteY26" fmla="*/ 1103570 h 1602377"/>
              <a:gd name="connsiteX27" fmla="*/ 3329369 w 4188999"/>
              <a:gd name="connsiteY27" fmla="*/ 961256 h 1602377"/>
              <a:gd name="connsiteX28" fmla="*/ 3218688 w 4188999"/>
              <a:gd name="connsiteY28" fmla="*/ 961256 h 1602377"/>
              <a:gd name="connsiteX29" fmla="*/ 3218688 w 4188999"/>
              <a:gd name="connsiteY29" fmla="*/ 1103570 h 1602377"/>
              <a:gd name="connsiteX30" fmla="*/ 3135725 w 4188999"/>
              <a:gd name="connsiteY30" fmla="*/ 1103570 h 1602377"/>
              <a:gd name="connsiteX31" fmla="*/ 3135725 w 4188999"/>
              <a:gd name="connsiteY31" fmla="*/ 1191818 h 1602377"/>
              <a:gd name="connsiteX32" fmla="*/ 3218688 w 4188999"/>
              <a:gd name="connsiteY32" fmla="*/ 1191818 h 1602377"/>
              <a:gd name="connsiteX33" fmla="*/ 3218688 w 4188999"/>
              <a:gd name="connsiteY33" fmla="*/ 1449743 h 1602377"/>
              <a:gd name="connsiteX34" fmla="*/ 3363754 w 4188999"/>
              <a:gd name="connsiteY34" fmla="*/ 1592909 h 1602377"/>
              <a:gd name="connsiteX35" fmla="*/ 2815209 w 4188999"/>
              <a:gd name="connsiteY35" fmla="*/ 1602378 h 1602377"/>
              <a:gd name="connsiteX36" fmla="*/ 2952560 w 4188999"/>
              <a:gd name="connsiteY36" fmla="*/ 1528428 h 1602377"/>
              <a:gd name="connsiteX37" fmla="*/ 2952560 w 4188999"/>
              <a:gd name="connsiteY37" fmla="*/ 1588175 h 1602377"/>
              <a:gd name="connsiteX38" fmla="*/ 3064193 w 4188999"/>
              <a:gd name="connsiteY38" fmla="*/ 1588175 h 1602377"/>
              <a:gd name="connsiteX39" fmla="*/ 3064193 w 4188999"/>
              <a:gd name="connsiteY39" fmla="*/ 1103570 h 1602377"/>
              <a:gd name="connsiteX40" fmla="*/ 2950655 w 4188999"/>
              <a:gd name="connsiteY40" fmla="*/ 1103570 h 1602377"/>
              <a:gd name="connsiteX41" fmla="*/ 2950655 w 4188999"/>
              <a:gd name="connsiteY41" fmla="*/ 1372006 h 1602377"/>
              <a:gd name="connsiteX42" fmla="*/ 2848547 w 4188999"/>
              <a:gd name="connsiteY42" fmla="*/ 1509490 h 1602377"/>
              <a:gd name="connsiteX43" fmla="*/ 2766536 w 4188999"/>
              <a:gd name="connsiteY43" fmla="*/ 1407040 h 1602377"/>
              <a:gd name="connsiteX44" fmla="*/ 2766536 w 4188999"/>
              <a:gd name="connsiteY44" fmla="*/ 1103570 h 1602377"/>
              <a:gd name="connsiteX45" fmla="*/ 2652998 w 4188999"/>
              <a:gd name="connsiteY45" fmla="*/ 1103570 h 1602377"/>
              <a:gd name="connsiteX46" fmla="*/ 2652998 w 4188999"/>
              <a:gd name="connsiteY46" fmla="*/ 1424178 h 1602377"/>
              <a:gd name="connsiteX47" fmla="*/ 2815209 w 4188999"/>
              <a:gd name="connsiteY47" fmla="*/ 1602378 h 1602377"/>
              <a:gd name="connsiteX48" fmla="*/ 2499360 w 4188999"/>
              <a:gd name="connsiteY48" fmla="*/ 1592909 h 1602377"/>
              <a:gd name="connsiteX49" fmla="*/ 2571845 w 4188999"/>
              <a:gd name="connsiteY49" fmla="*/ 1583441 h 1602377"/>
              <a:gd name="connsiteX50" fmla="*/ 2571845 w 4188999"/>
              <a:gd name="connsiteY50" fmla="*/ 1500969 h 1602377"/>
              <a:gd name="connsiteX51" fmla="*/ 2529840 w 4188999"/>
              <a:gd name="connsiteY51" fmla="*/ 1505703 h 1602377"/>
              <a:gd name="connsiteX52" fmla="*/ 2464975 w 4188999"/>
              <a:gd name="connsiteY52" fmla="*/ 1428912 h 1602377"/>
              <a:gd name="connsiteX53" fmla="*/ 2464975 w 4188999"/>
              <a:gd name="connsiteY53" fmla="*/ 1191818 h 1602377"/>
              <a:gd name="connsiteX54" fmla="*/ 2562320 w 4188999"/>
              <a:gd name="connsiteY54" fmla="*/ 1191818 h 1602377"/>
              <a:gd name="connsiteX55" fmla="*/ 2562320 w 4188999"/>
              <a:gd name="connsiteY55" fmla="*/ 1103570 h 1602377"/>
              <a:gd name="connsiteX56" fmla="*/ 2465070 w 4188999"/>
              <a:gd name="connsiteY56" fmla="*/ 1103570 h 1602377"/>
              <a:gd name="connsiteX57" fmla="*/ 2465070 w 4188999"/>
              <a:gd name="connsiteY57" fmla="*/ 961256 h 1602377"/>
              <a:gd name="connsiteX58" fmla="*/ 2354390 w 4188999"/>
              <a:gd name="connsiteY58" fmla="*/ 961256 h 1602377"/>
              <a:gd name="connsiteX59" fmla="*/ 2354390 w 4188999"/>
              <a:gd name="connsiteY59" fmla="*/ 1103570 h 1602377"/>
              <a:gd name="connsiteX60" fmla="*/ 2271427 w 4188999"/>
              <a:gd name="connsiteY60" fmla="*/ 1103570 h 1602377"/>
              <a:gd name="connsiteX61" fmla="*/ 2271427 w 4188999"/>
              <a:gd name="connsiteY61" fmla="*/ 1191818 h 1602377"/>
              <a:gd name="connsiteX62" fmla="*/ 2354390 w 4188999"/>
              <a:gd name="connsiteY62" fmla="*/ 1191818 h 1602377"/>
              <a:gd name="connsiteX63" fmla="*/ 2354390 w 4188999"/>
              <a:gd name="connsiteY63" fmla="*/ 1449743 h 1602377"/>
              <a:gd name="connsiteX64" fmla="*/ 2499360 w 4188999"/>
              <a:gd name="connsiteY64" fmla="*/ 1592909 h 1602377"/>
              <a:gd name="connsiteX65" fmla="*/ 2069116 w 4188999"/>
              <a:gd name="connsiteY65" fmla="*/ 980194 h 1602377"/>
              <a:gd name="connsiteX66" fmla="*/ 2143506 w 4188999"/>
              <a:gd name="connsiteY66" fmla="*/ 1054144 h 1602377"/>
              <a:gd name="connsiteX67" fmla="*/ 2217896 w 4188999"/>
              <a:gd name="connsiteY67" fmla="*/ 980194 h 1602377"/>
              <a:gd name="connsiteX68" fmla="*/ 2143506 w 4188999"/>
              <a:gd name="connsiteY68" fmla="*/ 905297 h 1602377"/>
              <a:gd name="connsiteX69" fmla="*/ 2069116 w 4188999"/>
              <a:gd name="connsiteY69" fmla="*/ 980194 h 1602377"/>
              <a:gd name="connsiteX70" fmla="*/ 2087213 w 4188999"/>
              <a:gd name="connsiteY70" fmla="*/ 1588175 h 1602377"/>
              <a:gd name="connsiteX71" fmla="*/ 2199799 w 4188999"/>
              <a:gd name="connsiteY71" fmla="*/ 1588175 h 1602377"/>
              <a:gd name="connsiteX72" fmla="*/ 2199799 w 4188999"/>
              <a:gd name="connsiteY72" fmla="*/ 1103570 h 1602377"/>
              <a:gd name="connsiteX73" fmla="*/ 2087213 w 4188999"/>
              <a:gd name="connsiteY73" fmla="*/ 1103570 h 1602377"/>
              <a:gd name="connsiteX74" fmla="*/ 2087213 w 4188999"/>
              <a:gd name="connsiteY74" fmla="*/ 1588175 h 1602377"/>
              <a:gd name="connsiteX75" fmla="*/ 1928908 w 4188999"/>
              <a:gd name="connsiteY75" fmla="*/ 1592909 h 1602377"/>
              <a:gd name="connsiteX76" fmla="*/ 2001393 w 4188999"/>
              <a:gd name="connsiteY76" fmla="*/ 1583441 h 1602377"/>
              <a:gd name="connsiteX77" fmla="*/ 2001393 w 4188999"/>
              <a:gd name="connsiteY77" fmla="*/ 1500969 h 1602377"/>
              <a:gd name="connsiteX78" fmla="*/ 1959388 w 4188999"/>
              <a:gd name="connsiteY78" fmla="*/ 1505703 h 1602377"/>
              <a:gd name="connsiteX79" fmla="*/ 1894523 w 4188999"/>
              <a:gd name="connsiteY79" fmla="*/ 1428912 h 1602377"/>
              <a:gd name="connsiteX80" fmla="*/ 1894523 w 4188999"/>
              <a:gd name="connsiteY80" fmla="*/ 1191818 h 1602377"/>
              <a:gd name="connsiteX81" fmla="*/ 1991868 w 4188999"/>
              <a:gd name="connsiteY81" fmla="*/ 1191818 h 1602377"/>
              <a:gd name="connsiteX82" fmla="*/ 1991868 w 4188999"/>
              <a:gd name="connsiteY82" fmla="*/ 1103570 h 1602377"/>
              <a:gd name="connsiteX83" fmla="*/ 1894523 w 4188999"/>
              <a:gd name="connsiteY83" fmla="*/ 1103570 h 1602377"/>
              <a:gd name="connsiteX84" fmla="*/ 1894523 w 4188999"/>
              <a:gd name="connsiteY84" fmla="*/ 961256 h 1602377"/>
              <a:gd name="connsiteX85" fmla="*/ 1783842 w 4188999"/>
              <a:gd name="connsiteY85" fmla="*/ 961256 h 1602377"/>
              <a:gd name="connsiteX86" fmla="*/ 1783842 w 4188999"/>
              <a:gd name="connsiteY86" fmla="*/ 1103570 h 1602377"/>
              <a:gd name="connsiteX87" fmla="*/ 1700879 w 4188999"/>
              <a:gd name="connsiteY87" fmla="*/ 1103570 h 1602377"/>
              <a:gd name="connsiteX88" fmla="*/ 1700879 w 4188999"/>
              <a:gd name="connsiteY88" fmla="*/ 1191818 h 1602377"/>
              <a:gd name="connsiteX89" fmla="*/ 1783842 w 4188999"/>
              <a:gd name="connsiteY89" fmla="*/ 1191818 h 1602377"/>
              <a:gd name="connsiteX90" fmla="*/ 1783842 w 4188999"/>
              <a:gd name="connsiteY90" fmla="*/ 1449743 h 1602377"/>
              <a:gd name="connsiteX91" fmla="*/ 1928908 w 4188999"/>
              <a:gd name="connsiteY91" fmla="*/ 1592909 h 1602377"/>
              <a:gd name="connsiteX92" fmla="*/ 1450848 w 4188999"/>
              <a:gd name="connsiteY92" fmla="*/ 1602378 h 1602377"/>
              <a:gd name="connsiteX93" fmla="*/ 1666494 w 4188999"/>
              <a:gd name="connsiteY93" fmla="*/ 1444914 h 1602377"/>
              <a:gd name="connsiteX94" fmla="*/ 1488091 w 4188999"/>
              <a:gd name="connsiteY94" fmla="*/ 1298813 h 1602377"/>
              <a:gd name="connsiteX95" fmla="*/ 1428941 w 4188999"/>
              <a:gd name="connsiteY95" fmla="*/ 1285557 h 1602377"/>
              <a:gd name="connsiteX96" fmla="*/ 1351693 w 4188999"/>
              <a:gd name="connsiteY96" fmla="*/ 1229598 h 1602377"/>
              <a:gd name="connsiteX97" fmla="*/ 1435608 w 4188999"/>
              <a:gd name="connsiteY97" fmla="*/ 1172691 h 1602377"/>
              <a:gd name="connsiteX98" fmla="*/ 1535811 w 4188999"/>
              <a:gd name="connsiteY98" fmla="*/ 1234332 h 1602377"/>
              <a:gd name="connsiteX99" fmla="*/ 1649349 w 4188999"/>
              <a:gd name="connsiteY99" fmla="*/ 1234332 h 1602377"/>
              <a:gd name="connsiteX100" fmla="*/ 1436561 w 4188999"/>
              <a:gd name="connsiteY100" fmla="*/ 1090219 h 1602377"/>
              <a:gd name="connsiteX101" fmla="*/ 1236155 w 4188999"/>
              <a:gd name="connsiteY101" fmla="*/ 1236320 h 1602377"/>
              <a:gd name="connsiteX102" fmla="*/ 1400270 w 4188999"/>
              <a:gd name="connsiteY102" fmla="*/ 1380433 h 1602377"/>
              <a:gd name="connsiteX103" fmla="*/ 1457516 w 4188999"/>
              <a:gd name="connsiteY103" fmla="*/ 1392742 h 1602377"/>
              <a:gd name="connsiteX104" fmla="*/ 1551051 w 4188999"/>
              <a:gd name="connsiteY104" fmla="*/ 1456277 h 1602377"/>
              <a:gd name="connsiteX105" fmla="*/ 1456563 w 4188999"/>
              <a:gd name="connsiteY105" fmla="*/ 1518864 h 1602377"/>
              <a:gd name="connsiteX106" fmla="*/ 1341120 w 4188999"/>
              <a:gd name="connsiteY106" fmla="*/ 1437339 h 1602377"/>
              <a:gd name="connsiteX107" fmla="*/ 1219010 w 4188999"/>
              <a:gd name="connsiteY107" fmla="*/ 1437339 h 1602377"/>
              <a:gd name="connsiteX108" fmla="*/ 1450848 w 4188999"/>
              <a:gd name="connsiteY108" fmla="*/ 1602378 h 1602377"/>
              <a:gd name="connsiteX109" fmla="*/ 720090 w 4188999"/>
              <a:gd name="connsiteY109" fmla="*/ 1588175 h 1602377"/>
              <a:gd name="connsiteX110" fmla="*/ 833628 w 4188999"/>
              <a:gd name="connsiteY110" fmla="*/ 1588175 h 1602377"/>
              <a:gd name="connsiteX111" fmla="*/ 833628 w 4188999"/>
              <a:gd name="connsiteY111" fmla="*/ 1317845 h 1602377"/>
              <a:gd name="connsiteX112" fmla="*/ 943356 w 4188999"/>
              <a:gd name="connsiteY112" fmla="*/ 1182254 h 1602377"/>
              <a:gd name="connsiteX113" fmla="*/ 1023461 w 4188999"/>
              <a:gd name="connsiteY113" fmla="*/ 1275236 h 1602377"/>
              <a:gd name="connsiteX114" fmla="*/ 1023461 w 4188999"/>
              <a:gd name="connsiteY114" fmla="*/ 1588175 h 1602377"/>
              <a:gd name="connsiteX115" fmla="*/ 1137952 w 4188999"/>
              <a:gd name="connsiteY115" fmla="*/ 1588175 h 1602377"/>
              <a:gd name="connsiteX116" fmla="*/ 1137952 w 4188999"/>
              <a:gd name="connsiteY116" fmla="*/ 1265673 h 1602377"/>
              <a:gd name="connsiteX117" fmla="*/ 975741 w 4188999"/>
              <a:gd name="connsiteY117" fmla="*/ 1089272 h 1602377"/>
              <a:gd name="connsiteX118" fmla="*/ 830675 w 4188999"/>
              <a:gd name="connsiteY118" fmla="*/ 1166063 h 1602377"/>
              <a:gd name="connsiteX119" fmla="*/ 830675 w 4188999"/>
              <a:gd name="connsiteY119" fmla="*/ 1103475 h 1602377"/>
              <a:gd name="connsiteX120" fmla="*/ 720090 w 4188999"/>
              <a:gd name="connsiteY120" fmla="*/ 1103475 h 1602377"/>
              <a:gd name="connsiteX121" fmla="*/ 720090 w 4188999"/>
              <a:gd name="connsiteY121" fmla="*/ 1588175 h 1602377"/>
              <a:gd name="connsiteX122" fmla="*/ 471964 w 4188999"/>
              <a:gd name="connsiteY122" fmla="*/ 1588175 h 1602377"/>
              <a:gd name="connsiteX123" fmla="*/ 591217 w 4188999"/>
              <a:gd name="connsiteY123" fmla="*/ 1588175 h 1602377"/>
              <a:gd name="connsiteX124" fmla="*/ 591217 w 4188999"/>
              <a:gd name="connsiteY124" fmla="*/ 924329 h 1602377"/>
              <a:gd name="connsiteX125" fmla="*/ 471964 w 4188999"/>
              <a:gd name="connsiteY125" fmla="*/ 924329 h 1602377"/>
              <a:gd name="connsiteX126" fmla="*/ 471964 w 4188999"/>
              <a:gd name="connsiteY126" fmla="*/ 1588175 h 1602377"/>
              <a:gd name="connsiteX127" fmla="*/ 3960971 w 4188999"/>
              <a:gd name="connsiteY127" fmla="*/ 697081 h 1602377"/>
              <a:gd name="connsiteX128" fmla="*/ 4176617 w 4188999"/>
              <a:gd name="connsiteY128" fmla="*/ 539618 h 1602377"/>
              <a:gd name="connsiteX129" fmla="*/ 3998214 w 4188999"/>
              <a:gd name="connsiteY129" fmla="*/ 393517 h 1602377"/>
              <a:gd name="connsiteX130" fmla="*/ 3939064 w 4188999"/>
              <a:gd name="connsiteY130" fmla="*/ 380261 h 1602377"/>
              <a:gd name="connsiteX131" fmla="*/ 3861816 w 4188999"/>
              <a:gd name="connsiteY131" fmla="*/ 324301 h 1602377"/>
              <a:gd name="connsiteX132" fmla="*/ 3945731 w 4188999"/>
              <a:gd name="connsiteY132" fmla="*/ 267394 h 1602377"/>
              <a:gd name="connsiteX133" fmla="*/ 4045934 w 4188999"/>
              <a:gd name="connsiteY133" fmla="*/ 329035 h 1602377"/>
              <a:gd name="connsiteX134" fmla="*/ 4159472 w 4188999"/>
              <a:gd name="connsiteY134" fmla="*/ 329035 h 1602377"/>
              <a:gd name="connsiteX135" fmla="*/ 3946684 w 4188999"/>
              <a:gd name="connsiteY135" fmla="*/ 184923 h 1602377"/>
              <a:gd name="connsiteX136" fmla="*/ 3746278 w 4188999"/>
              <a:gd name="connsiteY136" fmla="*/ 331024 h 1602377"/>
              <a:gd name="connsiteX137" fmla="*/ 3910394 w 4188999"/>
              <a:gd name="connsiteY137" fmla="*/ 475136 h 1602377"/>
              <a:gd name="connsiteX138" fmla="*/ 3967639 w 4188999"/>
              <a:gd name="connsiteY138" fmla="*/ 487446 h 1602377"/>
              <a:gd name="connsiteX139" fmla="*/ 4061174 w 4188999"/>
              <a:gd name="connsiteY139" fmla="*/ 550980 h 1602377"/>
              <a:gd name="connsiteX140" fmla="*/ 3966686 w 4188999"/>
              <a:gd name="connsiteY140" fmla="*/ 613568 h 1602377"/>
              <a:gd name="connsiteX141" fmla="*/ 3851243 w 4188999"/>
              <a:gd name="connsiteY141" fmla="*/ 532043 h 1602377"/>
              <a:gd name="connsiteX142" fmla="*/ 3729133 w 4188999"/>
              <a:gd name="connsiteY142" fmla="*/ 532043 h 1602377"/>
              <a:gd name="connsiteX143" fmla="*/ 3960971 w 4188999"/>
              <a:gd name="connsiteY143" fmla="*/ 697081 h 1602377"/>
              <a:gd name="connsiteX144" fmla="*/ 3307747 w 4188999"/>
              <a:gd name="connsiteY144" fmla="*/ 390771 h 1602377"/>
              <a:gd name="connsiteX145" fmla="*/ 3437478 w 4188999"/>
              <a:gd name="connsiteY145" fmla="*/ 274117 h 1602377"/>
              <a:gd name="connsiteX146" fmla="*/ 3566255 w 4188999"/>
              <a:gd name="connsiteY146" fmla="*/ 390771 h 1602377"/>
              <a:gd name="connsiteX147" fmla="*/ 3307747 w 4188999"/>
              <a:gd name="connsiteY147" fmla="*/ 390771 h 1602377"/>
              <a:gd name="connsiteX148" fmla="*/ 3442240 w 4188999"/>
              <a:gd name="connsiteY148" fmla="*/ 697081 h 1602377"/>
              <a:gd name="connsiteX149" fmla="*/ 3666458 w 4188999"/>
              <a:gd name="connsiteY149" fmla="*/ 556756 h 1602377"/>
              <a:gd name="connsiteX150" fmla="*/ 3546253 w 4188999"/>
              <a:gd name="connsiteY150" fmla="*/ 556756 h 1602377"/>
              <a:gd name="connsiteX151" fmla="*/ 3444145 w 4188999"/>
              <a:gd name="connsiteY151" fmla="*/ 607981 h 1602377"/>
              <a:gd name="connsiteX152" fmla="*/ 3305842 w 4188999"/>
              <a:gd name="connsiteY152" fmla="*/ 473337 h 1602377"/>
              <a:gd name="connsiteX153" fmla="*/ 3679889 w 4188999"/>
              <a:gd name="connsiteY153" fmla="*/ 473337 h 1602377"/>
              <a:gd name="connsiteX154" fmla="*/ 3434715 w 4188999"/>
              <a:gd name="connsiteY154" fmla="*/ 184070 h 1602377"/>
              <a:gd name="connsiteX155" fmla="*/ 3190494 w 4188999"/>
              <a:gd name="connsiteY155" fmla="*/ 441996 h 1602377"/>
              <a:gd name="connsiteX156" fmla="*/ 3442240 w 4188999"/>
              <a:gd name="connsiteY156" fmla="*/ 697081 h 1602377"/>
              <a:gd name="connsiteX157" fmla="*/ 2968371 w 4188999"/>
              <a:gd name="connsiteY157" fmla="*/ 74897 h 1602377"/>
              <a:gd name="connsiteX158" fmla="*/ 3042761 w 4188999"/>
              <a:gd name="connsiteY158" fmla="*/ 148847 h 1602377"/>
              <a:gd name="connsiteX159" fmla="*/ 3117152 w 4188999"/>
              <a:gd name="connsiteY159" fmla="*/ 74897 h 1602377"/>
              <a:gd name="connsiteX160" fmla="*/ 3042761 w 4188999"/>
              <a:gd name="connsiteY160" fmla="*/ 0 h 1602377"/>
              <a:gd name="connsiteX161" fmla="*/ 2968371 w 4188999"/>
              <a:gd name="connsiteY161" fmla="*/ 74897 h 1602377"/>
              <a:gd name="connsiteX162" fmla="*/ 2986469 w 4188999"/>
              <a:gd name="connsiteY162" fmla="*/ 682878 h 1602377"/>
              <a:gd name="connsiteX163" fmla="*/ 3099054 w 4188999"/>
              <a:gd name="connsiteY163" fmla="*/ 682878 h 1602377"/>
              <a:gd name="connsiteX164" fmla="*/ 3099054 w 4188999"/>
              <a:gd name="connsiteY164" fmla="*/ 198179 h 1602377"/>
              <a:gd name="connsiteX165" fmla="*/ 2986469 w 4188999"/>
              <a:gd name="connsiteY165" fmla="*/ 198179 h 1602377"/>
              <a:gd name="connsiteX166" fmla="*/ 2986469 w 4188999"/>
              <a:gd name="connsiteY166" fmla="*/ 682878 h 1602377"/>
              <a:gd name="connsiteX167" fmla="*/ 2628995 w 4188999"/>
              <a:gd name="connsiteY167" fmla="*/ 682878 h 1602377"/>
              <a:gd name="connsiteX168" fmla="*/ 2742533 w 4188999"/>
              <a:gd name="connsiteY168" fmla="*/ 682878 h 1602377"/>
              <a:gd name="connsiteX169" fmla="*/ 2742533 w 4188999"/>
              <a:gd name="connsiteY169" fmla="*/ 463774 h 1602377"/>
              <a:gd name="connsiteX170" fmla="*/ 2826449 w 4188999"/>
              <a:gd name="connsiteY170" fmla="*/ 299682 h 1602377"/>
              <a:gd name="connsiteX171" fmla="*/ 2913316 w 4188999"/>
              <a:gd name="connsiteY171" fmla="*/ 292108 h 1602377"/>
              <a:gd name="connsiteX172" fmla="*/ 2913316 w 4188999"/>
              <a:gd name="connsiteY172" fmla="*/ 183976 h 1602377"/>
              <a:gd name="connsiteX173" fmla="*/ 2739676 w 4188999"/>
              <a:gd name="connsiteY173" fmla="*/ 297789 h 1602377"/>
              <a:gd name="connsiteX174" fmla="*/ 2739676 w 4188999"/>
              <a:gd name="connsiteY174" fmla="*/ 198179 h 1602377"/>
              <a:gd name="connsiteX175" fmla="*/ 2628995 w 4188999"/>
              <a:gd name="connsiteY175" fmla="*/ 198179 h 1602377"/>
              <a:gd name="connsiteX176" fmla="*/ 2628995 w 4188999"/>
              <a:gd name="connsiteY176" fmla="*/ 682878 h 1602377"/>
              <a:gd name="connsiteX177" fmla="*/ 2140744 w 4188999"/>
              <a:gd name="connsiteY177" fmla="*/ 440102 h 1602377"/>
              <a:gd name="connsiteX178" fmla="*/ 2264759 w 4188999"/>
              <a:gd name="connsiteY178" fmla="*/ 275064 h 1602377"/>
              <a:gd name="connsiteX179" fmla="*/ 2392585 w 4188999"/>
              <a:gd name="connsiteY179" fmla="*/ 440102 h 1602377"/>
              <a:gd name="connsiteX180" fmla="*/ 2264759 w 4188999"/>
              <a:gd name="connsiteY180" fmla="*/ 607034 h 1602377"/>
              <a:gd name="connsiteX181" fmla="*/ 2140744 w 4188999"/>
              <a:gd name="connsiteY181" fmla="*/ 440102 h 1602377"/>
              <a:gd name="connsiteX182" fmla="*/ 2242852 w 4188999"/>
              <a:gd name="connsiteY182" fmla="*/ 697081 h 1602377"/>
              <a:gd name="connsiteX183" fmla="*/ 2390775 w 4188999"/>
              <a:gd name="connsiteY183" fmla="*/ 622184 h 1602377"/>
              <a:gd name="connsiteX184" fmla="*/ 2390775 w 4188999"/>
              <a:gd name="connsiteY184" fmla="*/ 682878 h 1602377"/>
              <a:gd name="connsiteX185" fmla="*/ 2505266 w 4188999"/>
              <a:gd name="connsiteY185" fmla="*/ 682878 h 1602377"/>
              <a:gd name="connsiteX186" fmla="*/ 2505266 w 4188999"/>
              <a:gd name="connsiteY186" fmla="*/ 198179 h 1602377"/>
              <a:gd name="connsiteX187" fmla="*/ 2390775 w 4188999"/>
              <a:gd name="connsiteY187" fmla="*/ 198179 h 1602377"/>
              <a:gd name="connsiteX188" fmla="*/ 2390775 w 4188999"/>
              <a:gd name="connsiteY188" fmla="*/ 260766 h 1602377"/>
              <a:gd name="connsiteX189" fmla="*/ 2242852 w 4188999"/>
              <a:gd name="connsiteY189" fmla="*/ 183976 h 1602377"/>
              <a:gd name="connsiteX190" fmla="*/ 2024348 w 4188999"/>
              <a:gd name="connsiteY190" fmla="*/ 440008 h 1602377"/>
              <a:gd name="connsiteX191" fmla="*/ 2242852 w 4188999"/>
              <a:gd name="connsiteY191" fmla="*/ 697081 h 1602377"/>
              <a:gd name="connsiteX192" fmla="*/ 1683068 w 4188999"/>
              <a:gd name="connsiteY192" fmla="*/ 697081 h 1602377"/>
              <a:gd name="connsiteX193" fmla="*/ 1820418 w 4188999"/>
              <a:gd name="connsiteY193" fmla="*/ 623131 h 1602377"/>
              <a:gd name="connsiteX194" fmla="*/ 1820418 w 4188999"/>
              <a:gd name="connsiteY194" fmla="*/ 682878 h 1602377"/>
              <a:gd name="connsiteX195" fmla="*/ 1932051 w 4188999"/>
              <a:gd name="connsiteY195" fmla="*/ 682878 h 1602377"/>
              <a:gd name="connsiteX196" fmla="*/ 1932051 w 4188999"/>
              <a:gd name="connsiteY196" fmla="*/ 198179 h 1602377"/>
              <a:gd name="connsiteX197" fmla="*/ 1818513 w 4188999"/>
              <a:gd name="connsiteY197" fmla="*/ 198179 h 1602377"/>
              <a:gd name="connsiteX198" fmla="*/ 1818513 w 4188999"/>
              <a:gd name="connsiteY198" fmla="*/ 466615 h 1602377"/>
              <a:gd name="connsiteX199" fmla="*/ 1716405 w 4188999"/>
              <a:gd name="connsiteY199" fmla="*/ 604099 h 1602377"/>
              <a:gd name="connsiteX200" fmla="*/ 1634395 w 4188999"/>
              <a:gd name="connsiteY200" fmla="*/ 501649 h 1602377"/>
              <a:gd name="connsiteX201" fmla="*/ 1634395 w 4188999"/>
              <a:gd name="connsiteY201" fmla="*/ 198179 h 1602377"/>
              <a:gd name="connsiteX202" fmla="*/ 1520857 w 4188999"/>
              <a:gd name="connsiteY202" fmla="*/ 198179 h 1602377"/>
              <a:gd name="connsiteX203" fmla="*/ 1520857 w 4188999"/>
              <a:gd name="connsiteY203" fmla="*/ 518787 h 1602377"/>
              <a:gd name="connsiteX204" fmla="*/ 1683068 w 4188999"/>
              <a:gd name="connsiteY204" fmla="*/ 697081 h 1602377"/>
              <a:gd name="connsiteX205" fmla="*/ 1368552 w 4188999"/>
              <a:gd name="connsiteY205" fmla="*/ 687613 h 1602377"/>
              <a:gd name="connsiteX206" fmla="*/ 1441037 w 4188999"/>
              <a:gd name="connsiteY206" fmla="*/ 678144 h 1602377"/>
              <a:gd name="connsiteX207" fmla="*/ 1441037 w 4188999"/>
              <a:gd name="connsiteY207" fmla="*/ 595577 h 1602377"/>
              <a:gd name="connsiteX208" fmla="*/ 1399032 w 4188999"/>
              <a:gd name="connsiteY208" fmla="*/ 600312 h 1602377"/>
              <a:gd name="connsiteX209" fmla="*/ 1334167 w 4188999"/>
              <a:gd name="connsiteY209" fmla="*/ 523521 h 1602377"/>
              <a:gd name="connsiteX210" fmla="*/ 1334167 w 4188999"/>
              <a:gd name="connsiteY210" fmla="*/ 286426 h 1602377"/>
              <a:gd name="connsiteX211" fmla="*/ 1431512 w 4188999"/>
              <a:gd name="connsiteY211" fmla="*/ 286426 h 1602377"/>
              <a:gd name="connsiteX212" fmla="*/ 1431512 w 4188999"/>
              <a:gd name="connsiteY212" fmla="*/ 198179 h 1602377"/>
              <a:gd name="connsiteX213" fmla="*/ 1334167 w 4188999"/>
              <a:gd name="connsiteY213" fmla="*/ 198179 h 1602377"/>
              <a:gd name="connsiteX214" fmla="*/ 1334167 w 4188999"/>
              <a:gd name="connsiteY214" fmla="*/ 55960 h 1602377"/>
              <a:gd name="connsiteX215" fmla="*/ 1223486 w 4188999"/>
              <a:gd name="connsiteY215" fmla="*/ 55960 h 1602377"/>
              <a:gd name="connsiteX216" fmla="*/ 1223486 w 4188999"/>
              <a:gd name="connsiteY216" fmla="*/ 198179 h 1602377"/>
              <a:gd name="connsiteX217" fmla="*/ 1140524 w 4188999"/>
              <a:gd name="connsiteY217" fmla="*/ 198179 h 1602377"/>
              <a:gd name="connsiteX218" fmla="*/ 1140524 w 4188999"/>
              <a:gd name="connsiteY218" fmla="*/ 286426 h 1602377"/>
              <a:gd name="connsiteX219" fmla="*/ 1223486 w 4188999"/>
              <a:gd name="connsiteY219" fmla="*/ 286426 h 1602377"/>
              <a:gd name="connsiteX220" fmla="*/ 1223486 w 4188999"/>
              <a:gd name="connsiteY220" fmla="*/ 544352 h 1602377"/>
              <a:gd name="connsiteX221" fmla="*/ 1368552 w 4188999"/>
              <a:gd name="connsiteY221" fmla="*/ 687613 h 1602377"/>
              <a:gd name="connsiteX222" fmla="*/ 884111 w 4188999"/>
              <a:gd name="connsiteY222" fmla="*/ 697081 h 1602377"/>
              <a:gd name="connsiteX223" fmla="*/ 1106424 w 4188999"/>
              <a:gd name="connsiteY223" fmla="*/ 530149 h 1602377"/>
              <a:gd name="connsiteX224" fmla="*/ 993838 w 4188999"/>
              <a:gd name="connsiteY224" fmla="*/ 530149 h 1602377"/>
              <a:gd name="connsiteX225" fmla="*/ 886015 w 4188999"/>
              <a:gd name="connsiteY225" fmla="*/ 604099 h 1602377"/>
              <a:gd name="connsiteX226" fmla="*/ 761048 w 4188999"/>
              <a:gd name="connsiteY226" fmla="*/ 441901 h 1602377"/>
              <a:gd name="connsiteX227" fmla="*/ 888873 w 4188999"/>
              <a:gd name="connsiteY227" fmla="*/ 277810 h 1602377"/>
              <a:gd name="connsiteX228" fmla="*/ 993838 w 4188999"/>
              <a:gd name="connsiteY228" fmla="*/ 351760 h 1602377"/>
              <a:gd name="connsiteX229" fmla="*/ 1105472 w 4188999"/>
              <a:gd name="connsiteY229" fmla="*/ 351760 h 1602377"/>
              <a:gd name="connsiteX230" fmla="*/ 886968 w 4188999"/>
              <a:gd name="connsiteY230" fmla="*/ 184828 h 1602377"/>
              <a:gd name="connsiteX231" fmla="*/ 641795 w 4188999"/>
              <a:gd name="connsiteY231" fmla="*/ 441807 h 1602377"/>
              <a:gd name="connsiteX232" fmla="*/ 884111 w 4188999"/>
              <a:gd name="connsiteY232" fmla="*/ 697081 h 1602377"/>
              <a:gd name="connsiteX233" fmla="*/ 208026 w 4188999"/>
              <a:gd name="connsiteY233" fmla="*/ 444837 h 1602377"/>
              <a:gd name="connsiteX234" fmla="*/ 252889 w 4188999"/>
              <a:gd name="connsiteY234" fmla="*/ 314927 h 1602377"/>
              <a:gd name="connsiteX235" fmla="*/ 312039 w 4188999"/>
              <a:gd name="connsiteY235" fmla="*/ 143261 h 1602377"/>
              <a:gd name="connsiteX236" fmla="*/ 312992 w 4188999"/>
              <a:gd name="connsiteY236" fmla="*/ 143261 h 1602377"/>
              <a:gd name="connsiteX237" fmla="*/ 372142 w 4188999"/>
              <a:gd name="connsiteY237" fmla="*/ 313980 h 1602377"/>
              <a:gd name="connsiteX238" fmla="*/ 417005 w 4188999"/>
              <a:gd name="connsiteY238" fmla="*/ 444837 h 1602377"/>
              <a:gd name="connsiteX239" fmla="*/ 208026 w 4188999"/>
              <a:gd name="connsiteY239" fmla="*/ 444837 h 1602377"/>
              <a:gd name="connsiteX240" fmla="*/ 0 w 4188999"/>
              <a:gd name="connsiteY240" fmla="*/ 682878 h 1602377"/>
              <a:gd name="connsiteX241" fmla="*/ 124968 w 4188999"/>
              <a:gd name="connsiteY241" fmla="*/ 682878 h 1602377"/>
              <a:gd name="connsiteX242" fmla="*/ 172688 w 4188999"/>
              <a:gd name="connsiteY242" fmla="*/ 544447 h 1602377"/>
              <a:gd name="connsiteX243" fmla="*/ 451295 w 4188999"/>
              <a:gd name="connsiteY243" fmla="*/ 544447 h 1602377"/>
              <a:gd name="connsiteX244" fmla="*/ 499015 w 4188999"/>
              <a:gd name="connsiteY244" fmla="*/ 682878 h 1602377"/>
              <a:gd name="connsiteX245" fmla="*/ 626840 w 4188999"/>
              <a:gd name="connsiteY245" fmla="*/ 682878 h 1602377"/>
              <a:gd name="connsiteX246" fmla="*/ 380714 w 4188999"/>
              <a:gd name="connsiteY246" fmla="*/ 18937 h 1602377"/>
              <a:gd name="connsiteX247" fmla="*/ 248984 w 4188999"/>
              <a:gd name="connsiteY247" fmla="*/ 18937 h 1602377"/>
              <a:gd name="connsiteX248" fmla="*/ 0 w 4188999"/>
              <a:gd name="connsiteY248" fmla="*/ 682878 h 160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4188999" h="1602377">
                <a:moveTo>
                  <a:pt x="4115562" y="1595750"/>
                </a:moveTo>
                <a:cubicBezTo>
                  <a:pt x="4155662" y="1595750"/>
                  <a:pt x="4189000" y="1563462"/>
                  <a:pt x="4189000" y="1522747"/>
                </a:cubicBezTo>
                <a:cubicBezTo>
                  <a:pt x="4189000" y="1482884"/>
                  <a:pt x="4155567" y="1450690"/>
                  <a:pt x="4115562" y="1450690"/>
                </a:cubicBezTo>
                <a:cubicBezTo>
                  <a:pt x="4075462" y="1450690"/>
                  <a:pt x="4042124" y="1482978"/>
                  <a:pt x="4042124" y="1522747"/>
                </a:cubicBezTo>
                <a:cubicBezTo>
                  <a:pt x="4042124" y="1563556"/>
                  <a:pt x="4075462" y="1595750"/>
                  <a:pt x="4115562" y="1595750"/>
                </a:cubicBezTo>
                <a:moveTo>
                  <a:pt x="3601307" y="1296067"/>
                </a:moveTo>
                <a:cubicBezTo>
                  <a:pt x="3611785" y="1227798"/>
                  <a:pt x="3664268" y="1179414"/>
                  <a:pt x="3731038" y="1179414"/>
                </a:cubicBezTo>
                <a:cubicBezTo>
                  <a:pt x="3803523" y="1179414"/>
                  <a:pt x="3849338" y="1225905"/>
                  <a:pt x="3859816" y="1296067"/>
                </a:cubicBezTo>
                <a:lnTo>
                  <a:pt x="3601307" y="1296067"/>
                </a:lnTo>
                <a:close/>
                <a:moveTo>
                  <a:pt x="3735800" y="1602378"/>
                </a:moveTo>
                <a:cubicBezTo>
                  <a:pt x="3856006" y="1602378"/>
                  <a:pt x="3934206" y="1544524"/>
                  <a:pt x="3960019" y="1462053"/>
                </a:cubicBezTo>
                <a:lnTo>
                  <a:pt x="3839813" y="1462053"/>
                </a:lnTo>
                <a:cubicBezTo>
                  <a:pt x="3824573" y="1490459"/>
                  <a:pt x="3793046" y="1513278"/>
                  <a:pt x="3737705" y="1513278"/>
                </a:cubicBezTo>
                <a:cubicBezTo>
                  <a:pt x="3661410" y="1513278"/>
                  <a:pt x="3605117" y="1459212"/>
                  <a:pt x="3599403" y="1378634"/>
                </a:cubicBezTo>
                <a:lnTo>
                  <a:pt x="3973354" y="1378634"/>
                </a:lnTo>
                <a:cubicBezTo>
                  <a:pt x="3971449" y="1194658"/>
                  <a:pt x="3874103" y="1089367"/>
                  <a:pt x="3728180" y="1089367"/>
                </a:cubicBezTo>
                <a:cubicBezTo>
                  <a:pt x="3595592" y="1089367"/>
                  <a:pt x="3483959" y="1195605"/>
                  <a:pt x="3483959" y="1347387"/>
                </a:cubicBezTo>
                <a:cubicBezTo>
                  <a:pt x="3483959" y="1500022"/>
                  <a:pt x="3580353" y="1602378"/>
                  <a:pt x="3735800" y="1602378"/>
                </a:cubicBezTo>
                <a:moveTo>
                  <a:pt x="3363754" y="1592909"/>
                </a:moveTo>
                <a:cubicBezTo>
                  <a:pt x="3390424" y="1592909"/>
                  <a:pt x="3420047" y="1589122"/>
                  <a:pt x="3436239" y="1583441"/>
                </a:cubicBezTo>
                <a:lnTo>
                  <a:pt x="3436239" y="1500969"/>
                </a:lnTo>
                <a:cubicBezTo>
                  <a:pt x="3420047" y="1503809"/>
                  <a:pt x="3405664" y="1505703"/>
                  <a:pt x="3394234" y="1505703"/>
                </a:cubicBezTo>
                <a:cubicBezTo>
                  <a:pt x="3346514" y="1505703"/>
                  <a:pt x="3329369" y="1479191"/>
                  <a:pt x="3329369" y="1428912"/>
                </a:cubicBezTo>
                <a:lnTo>
                  <a:pt x="3329369" y="1191818"/>
                </a:lnTo>
                <a:lnTo>
                  <a:pt x="3426714" y="1191818"/>
                </a:lnTo>
                <a:lnTo>
                  <a:pt x="3426714" y="1103570"/>
                </a:lnTo>
                <a:lnTo>
                  <a:pt x="3329369" y="1103570"/>
                </a:lnTo>
                <a:lnTo>
                  <a:pt x="3329369" y="961256"/>
                </a:lnTo>
                <a:lnTo>
                  <a:pt x="3218688" y="961256"/>
                </a:lnTo>
                <a:lnTo>
                  <a:pt x="3218688" y="1103570"/>
                </a:lnTo>
                <a:lnTo>
                  <a:pt x="3135725" y="1103570"/>
                </a:lnTo>
                <a:lnTo>
                  <a:pt x="3135725" y="1191818"/>
                </a:lnTo>
                <a:lnTo>
                  <a:pt x="3218688" y="1191818"/>
                </a:lnTo>
                <a:lnTo>
                  <a:pt x="3218688" y="1449743"/>
                </a:lnTo>
                <a:cubicBezTo>
                  <a:pt x="3218688" y="1556928"/>
                  <a:pt x="3284601" y="1592909"/>
                  <a:pt x="3363754" y="1592909"/>
                </a:cubicBezTo>
                <a:moveTo>
                  <a:pt x="2815209" y="1602378"/>
                </a:moveTo>
                <a:cubicBezTo>
                  <a:pt x="2879122" y="1602378"/>
                  <a:pt x="2925890" y="1576813"/>
                  <a:pt x="2952560" y="1528428"/>
                </a:cubicBezTo>
                <a:lnTo>
                  <a:pt x="2952560" y="1588175"/>
                </a:lnTo>
                <a:lnTo>
                  <a:pt x="3064193" y="1588175"/>
                </a:lnTo>
                <a:lnTo>
                  <a:pt x="3064193" y="1103570"/>
                </a:lnTo>
                <a:lnTo>
                  <a:pt x="2950655" y="1103570"/>
                </a:lnTo>
                <a:lnTo>
                  <a:pt x="2950655" y="1372006"/>
                </a:lnTo>
                <a:cubicBezTo>
                  <a:pt x="2950655" y="1469722"/>
                  <a:pt x="2899124" y="1509490"/>
                  <a:pt x="2848547" y="1509490"/>
                </a:cubicBezTo>
                <a:cubicBezTo>
                  <a:pt x="2791301" y="1509490"/>
                  <a:pt x="2766536" y="1471521"/>
                  <a:pt x="2766536" y="1407040"/>
                </a:cubicBezTo>
                <a:lnTo>
                  <a:pt x="2766536" y="1103570"/>
                </a:lnTo>
                <a:lnTo>
                  <a:pt x="2652998" y="1103570"/>
                </a:lnTo>
                <a:lnTo>
                  <a:pt x="2652998" y="1424178"/>
                </a:lnTo>
                <a:cubicBezTo>
                  <a:pt x="2652998" y="1541684"/>
                  <a:pt x="2719769" y="1602378"/>
                  <a:pt x="2815209" y="1602378"/>
                </a:cubicBezTo>
                <a:moveTo>
                  <a:pt x="2499360" y="1592909"/>
                </a:moveTo>
                <a:cubicBezTo>
                  <a:pt x="2526030" y="1592909"/>
                  <a:pt x="2555653" y="1589122"/>
                  <a:pt x="2571845" y="1583441"/>
                </a:cubicBezTo>
                <a:lnTo>
                  <a:pt x="2571845" y="1500969"/>
                </a:lnTo>
                <a:cubicBezTo>
                  <a:pt x="2555653" y="1503809"/>
                  <a:pt x="2541270" y="1505703"/>
                  <a:pt x="2529840" y="1505703"/>
                </a:cubicBezTo>
                <a:cubicBezTo>
                  <a:pt x="2482120" y="1505703"/>
                  <a:pt x="2464975" y="1479191"/>
                  <a:pt x="2464975" y="1428912"/>
                </a:cubicBezTo>
                <a:lnTo>
                  <a:pt x="2464975" y="1191818"/>
                </a:lnTo>
                <a:lnTo>
                  <a:pt x="2562320" y="1191818"/>
                </a:lnTo>
                <a:lnTo>
                  <a:pt x="2562320" y="1103570"/>
                </a:lnTo>
                <a:lnTo>
                  <a:pt x="2465070" y="1103570"/>
                </a:lnTo>
                <a:lnTo>
                  <a:pt x="2465070" y="961256"/>
                </a:lnTo>
                <a:lnTo>
                  <a:pt x="2354390" y="961256"/>
                </a:lnTo>
                <a:lnTo>
                  <a:pt x="2354390" y="1103570"/>
                </a:lnTo>
                <a:lnTo>
                  <a:pt x="2271427" y="1103570"/>
                </a:lnTo>
                <a:lnTo>
                  <a:pt x="2271427" y="1191818"/>
                </a:lnTo>
                <a:lnTo>
                  <a:pt x="2354390" y="1191818"/>
                </a:lnTo>
                <a:lnTo>
                  <a:pt x="2354390" y="1449743"/>
                </a:lnTo>
                <a:cubicBezTo>
                  <a:pt x="2354390" y="1556928"/>
                  <a:pt x="2420207" y="1592909"/>
                  <a:pt x="2499360" y="1592909"/>
                </a:cubicBezTo>
                <a:moveTo>
                  <a:pt x="2069116" y="980194"/>
                </a:moveTo>
                <a:cubicBezTo>
                  <a:pt x="2069116" y="1021003"/>
                  <a:pt x="2102549" y="1054144"/>
                  <a:pt x="2143506" y="1054144"/>
                </a:cubicBezTo>
                <a:cubicBezTo>
                  <a:pt x="2184559" y="1054144"/>
                  <a:pt x="2217896" y="1020909"/>
                  <a:pt x="2217896" y="980194"/>
                </a:cubicBezTo>
                <a:cubicBezTo>
                  <a:pt x="2217896" y="938437"/>
                  <a:pt x="2184464" y="905297"/>
                  <a:pt x="2143506" y="905297"/>
                </a:cubicBezTo>
                <a:cubicBezTo>
                  <a:pt x="2102549" y="905297"/>
                  <a:pt x="2069116" y="938532"/>
                  <a:pt x="2069116" y="980194"/>
                </a:cubicBezTo>
                <a:moveTo>
                  <a:pt x="2087213" y="1588175"/>
                </a:moveTo>
                <a:lnTo>
                  <a:pt x="2199799" y="1588175"/>
                </a:lnTo>
                <a:lnTo>
                  <a:pt x="2199799" y="1103570"/>
                </a:lnTo>
                <a:lnTo>
                  <a:pt x="2087213" y="1103570"/>
                </a:lnTo>
                <a:lnTo>
                  <a:pt x="2087213" y="1588175"/>
                </a:lnTo>
                <a:close/>
                <a:moveTo>
                  <a:pt x="1928908" y="1592909"/>
                </a:moveTo>
                <a:cubicBezTo>
                  <a:pt x="1955578" y="1592909"/>
                  <a:pt x="1985201" y="1589122"/>
                  <a:pt x="2001393" y="1583441"/>
                </a:cubicBezTo>
                <a:lnTo>
                  <a:pt x="2001393" y="1500969"/>
                </a:lnTo>
                <a:cubicBezTo>
                  <a:pt x="1985201" y="1503809"/>
                  <a:pt x="1970818" y="1505703"/>
                  <a:pt x="1959388" y="1505703"/>
                </a:cubicBezTo>
                <a:cubicBezTo>
                  <a:pt x="1911668" y="1505703"/>
                  <a:pt x="1894523" y="1479191"/>
                  <a:pt x="1894523" y="1428912"/>
                </a:cubicBezTo>
                <a:lnTo>
                  <a:pt x="1894523" y="1191818"/>
                </a:lnTo>
                <a:lnTo>
                  <a:pt x="1991868" y="1191818"/>
                </a:lnTo>
                <a:lnTo>
                  <a:pt x="1991868" y="1103570"/>
                </a:lnTo>
                <a:lnTo>
                  <a:pt x="1894523" y="1103570"/>
                </a:lnTo>
                <a:lnTo>
                  <a:pt x="1894523" y="961256"/>
                </a:lnTo>
                <a:lnTo>
                  <a:pt x="1783842" y="961256"/>
                </a:lnTo>
                <a:lnTo>
                  <a:pt x="1783842" y="1103570"/>
                </a:lnTo>
                <a:lnTo>
                  <a:pt x="1700879" y="1103570"/>
                </a:lnTo>
                <a:lnTo>
                  <a:pt x="1700879" y="1191818"/>
                </a:lnTo>
                <a:lnTo>
                  <a:pt x="1783842" y="1191818"/>
                </a:lnTo>
                <a:lnTo>
                  <a:pt x="1783842" y="1449743"/>
                </a:lnTo>
                <a:cubicBezTo>
                  <a:pt x="1783842" y="1556928"/>
                  <a:pt x="1849660" y="1592909"/>
                  <a:pt x="1928908" y="1592909"/>
                </a:cubicBezTo>
                <a:moveTo>
                  <a:pt x="1450848" y="1602378"/>
                </a:moveTo>
                <a:cubicBezTo>
                  <a:pt x="1573911" y="1602378"/>
                  <a:pt x="1666494" y="1541684"/>
                  <a:pt x="1666494" y="1444914"/>
                </a:cubicBezTo>
                <a:cubicBezTo>
                  <a:pt x="1666494" y="1360549"/>
                  <a:pt x="1595914" y="1322579"/>
                  <a:pt x="1488091" y="1298813"/>
                </a:cubicBezTo>
                <a:lnTo>
                  <a:pt x="1428941" y="1285557"/>
                </a:lnTo>
                <a:cubicBezTo>
                  <a:pt x="1374553" y="1274195"/>
                  <a:pt x="1351693" y="1260939"/>
                  <a:pt x="1351693" y="1229598"/>
                </a:cubicBezTo>
                <a:cubicBezTo>
                  <a:pt x="1351693" y="1194469"/>
                  <a:pt x="1387031" y="1172691"/>
                  <a:pt x="1435608" y="1172691"/>
                </a:cubicBezTo>
                <a:cubicBezTo>
                  <a:pt x="1489996" y="1172691"/>
                  <a:pt x="1524381" y="1195416"/>
                  <a:pt x="1535811" y="1234332"/>
                </a:cubicBezTo>
                <a:lnTo>
                  <a:pt x="1649349" y="1234332"/>
                </a:lnTo>
                <a:cubicBezTo>
                  <a:pt x="1637919" y="1155647"/>
                  <a:pt x="1566386" y="1090219"/>
                  <a:pt x="1436561" y="1090219"/>
                </a:cubicBezTo>
                <a:cubicBezTo>
                  <a:pt x="1318260" y="1090219"/>
                  <a:pt x="1236155" y="1150913"/>
                  <a:pt x="1236155" y="1236320"/>
                </a:cubicBezTo>
                <a:cubicBezTo>
                  <a:pt x="1236155" y="1316898"/>
                  <a:pt x="1294352" y="1357708"/>
                  <a:pt x="1400270" y="1380433"/>
                </a:cubicBezTo>
                <a:lnTo>
                  <a:pt x="1457516" y="1392742"/>
                </a:lnTo>
                <a:cubicBezTo>
                  <a:pt x="1526191" y="1406945"/>
                  <a:pt x="1551051" y="1423137"/>
                  <a:pt x="1551051" y="1456277"/>
                </a:cubicBezTo>
                <a:cubicBezTo>
                  <a:pt x="1551051" y="1496140"/>
                  <a:pt x="1511903" y="1518864"/>
                  <a:pt x="1456563" y="1518864"/>
                </a:cubicBezTo>
                <a:cubicBezTo>
                  <a:pt x="1386935" y="1518864"/>
                  <a:pt x="1349693" y="1485629"/>
                  <a:pt x="1341120" y="1437339"/>
                </a:cubicBezTo>
                <a:lnTo>
                  <a:pt x="1219010" y="1437339"/>
                </a:lnTo>
                <a:cubicBezTo>
                  <a:pt x="1226630" y="1534109"/>
                  <a:pt x="1309688" y="1602378"/>
                  <a:pt x="1450848" y="1602378"/>
                </a:cubicBezTo>
                <a:moveTo>
                  <a:pt x="720090" y="1588175"/>
                </a:moveTo>
                <a:lnTo>
                  <a:pt x="833628" y="1588175"/>
                </a:lnTo>
                <a:lnTo>
                  <a:pt x="833628" y="1317845"/>
                </a:lnTo>
                <a:cubicBezTo>
                  <a:pt x="833628" y="1222023"/>
                  <a:pt x="887063" y="1182254"/>
                  <a:pt x="943356" y="1182254"/>
                </a:cubicBezTo>
                <a:cubicBezTo>
                  <a:pt x="1002506" y="1182254"/>
                  <a:pt x="1023461" y="1222117"/>
                  <a:pt x="1023461" y="1275236"/>
                </a:cubicBezTo>
                <a:lnTo>
                  <a:pt x="1023461" y="1588175"/>
                </a:lnTo>
                <a:lnTo>
                  <a:pt x="1137952" y="1588175"/>
                </a:lnTo>
                <a:lnTo>
                  <a:pt x="1137952" y="1265673"/>
                </a:lnTo>
                <a:cubicBezTo>
                  <a:pt x="1137952" y="1151860"/>
                  <a:pt x="1074039" y="1089272"/>
                  <a:pt x="975741" y="1089272"/>
                </a:cubicBezTo>
                <a:cubicBezTo>
                  <a:pt x="905161" y="1089272"/>
                  <a:pt x="856488" y="1125348"/>
                  <a:pt x="830675" y="1166063"/>
                </a:cubicBezTo>
                <a:lnTo>
                  <a:pt x="830675" y="1103475"/>
                </a:lnTo>
                <a:lnTo>
                  <a:pt x="720090" y="1103475"/>
                </a:lnTo>
                <a:lnTo>
                  <a:pt x="720090" y="1588175"/>
                </a:lnTo>
                <a:close/>
                <a:moveTo>
                  <a:pt x="471964" y="1588175"/>
                </a:moveTo>
                <a:lnTo>
                  <a:pt x="591217" y="1588175"/>
                </a:lnTo>
                <a:lnTo>
                  <a:pt x="591217" y="924329"/>
                </a:lnTo>
                <a:lnTo>
                  <a:pt x="471964" y="924329"/>
                </a:lnTo>
                <a:lnTo>
                  <a:pt x="471964" y="1588175"/>
                </a:lnTo>
                <a:close/>
                <a:moveTo>
                  <a:pt x="3960971" y="697081"/>
                </a:moveTo>
                <a:cubicBezTo>
                  <a:pt x="4084034" y="697081"/>
                  <a:pt x="4176617" y="636387"/>
                  <a:pt x="4176617" y="539618"/>
                </a:cubicBezTo>
                <a:cubicBezTo>
                  <a:pt x="4176617" y="455157"/>
                  <a:pt x="4106037" y="417283"/>
                  <a:pt x="3998214" y="393517"/>
                </a:cubicBezTo>
                <a:lnTo>
                  <a:pt x="3939064" y="380261"/>
                </a:lnTo>
                <a:cubicBezTo>
                  <a:pt x="3884676" y="368898"/>
                  <a:pt x="3861816" y="355642"/>
                  <a:pt x="3861816" y="324301"/>
                </a:cubicBezTo>
                <a:cubicBezTo>
                  <a:pt x="3861816" y="289172"/>
                  <a:pt x="3897154" y="267394"/>
                  <a:pt x="3945731" y="267394"/>
                </a:cubicBezTo>
                <a:cubicBezTo>
                  <a:pt x="4000119" y="267394"/>
                  <a:pt x="4034504" y="290119"/>
                  <a:pt x="4045934" y="329035"/>
                </a:cubicBezTo>
                <a:lnTo>
                  <a:pt x="4159472" y="329035"/>
                </a:lnTo>
                <a:cubicBezTo>
                  <a:pt x="4148042" y="250351"/>
                  <a:pt x="4076510" y="184923"/>
                  <a:pt x="3946684" y="184923"/>
                </a:cubicBezTo>
                <a:cubicBezTo>
                  <a:pt x="3828383" y="184923"/>
                  <a:pt x="3746278" y="245617"/>
                  <a:pt x="3746278" y="331024"/>
                </a:cubicBezTo>
                <a:cubicBezTo>
                  <a:pt x="3746278" y="411602"/>
                  <a:pt x="3804476" y="452412"/>
                  <a:pt x="3910394" y="475136"/>
                </a:cubicBezTo>
                <a:lnTo>
                  <a:pt x="3967639" y="487446"/>
                </a:lnTo>
                <a:cubicBezTo>
                  <a:pt x="4036314" y="501649"/>
                  <a:pt x="4061174" y="517840"/>
                  <a:pt x="4061174" y="550980"/>
                </a:cubicBezTo>
                <a:cubicBezTo>
                  <a:pt x="4061174" y="590843"/>
                  <a:pt x="4022027" y="613568"/>
                  <a:pt x="3966686" y="613568"/>
                </a:cubicBezTo>
                <a:cubicBezTo>
                  <a:pt x="3897059" y="613568"/>
                  <a:pt x="3859816" y="580333"/>
                  <a:pt x="3851243" y="532043"/>
                </a:cubicBezTo>
                <a:lnTo>
                  <a:pt x="3729133" y="532043"/>
                </a:lnTo>
                <a:cubicBezTo>
                  <a:pt x="3736848" y="628812"/>
                  <a:pt x="3819811" y="697081"/>
                  <a:pt x="3960971" y="697081"/>
                </a:cubicBezTo>
                <a:moveTo>
                  <a:pt x="3307747" y="390771"/>
                </a:moveTo>
                <a:cubicBezTo>
                  <a:pt x="3318224" y="322502"/>
                  <a:pt x="3370707" y="274117"/>
                  <a:pt x="3437478" y="274117"/>
                </a:cubicBezTo>
                <a:cubicBezTo>
                  <a:pt x="3509963" y="274117"/>
                  <a:pt x="3555778" y="320608"/>
                  <a:pt x="3566255" y="390771"/>
                </a:cubicBezTo>
                <a:lnTo>
                  <a:pt x="3307747" y="390771"/>
                </a:lnTo>
                <a:close/>
                <a:moveTo>
                  <a:pt x="3442240" y="697081"/>
                </a:moveTo>
                <a:cubicBezTo>
                  <a:pt x="3562445" y="697081"/>
                  <a:pt x="3640646" y="639228"/>
                  <a:pt x="3666458" y="556756"/>
                </a:cubicBezTo>
                <a:lnTo>
                  <a:pt x="3546253" y="556756"/>
                </a:lnTo>
                <a:cubicBezTo>
                  <a:pt x="3531013" y="585257"/>
                  <a:pt x="3499485" y="607981"/>
                  <a:pt x="3444145" y="607981"/>
                </a:cubicBezTo>
                <a:cubicBezTo>
                  <a:pt x="3367849" y="607981"/>
                  <a:pt x="3311557" y="553915"/>
                  <a:pt x="3305842" y="473337"/>
                </a:cubicBezTo>
                <a:lnTo>
                  <a:pt x="3679889" y="473337"/>
                </a:lnTo>
                <a:cubicBezTo>
                  <a:pt x="3677984" y="289362"/>
                  <a:pt x="3580638" y="184070"/>
                  <a:pt x="3434715" y="184070"/>
                </a:cubicBezTo>
                <a:cubicBezTo>
                  <a:pt x="3302127" y="184070"/>
                  <a:pt x="3190494" y="290308"/>
                  <a:pt x="3190494" y="441996"/>
                </a:cubicBezTo>
                <a:cubicBezTo>
                  <a:pt x="3190399" y="594631"/>
                  <a:pt x="3286792" y="697081"/>
                  <a:pt x="3442240" y="697081"/>
                </a:cubicBezTo>
                <a:moveTo>
                  <a:pt x="2968371" y="74897"/>
                </a:moveTo>
                <a:cubicBezTo>
                  <a:pt x="2968371" y="115707"/>
                  <a:pt x="3001804" y="148847"/>
                  <a:pt x="3042761" y="148847"/>
                </a:cubicBezTo>
                <a:cubicBezTo>
                  <a:pt x="3083814" y="148847"/>
                  <a:pt x="3117152" y="115612"/>
                  <a:pt x="3117152" y="74897"/>
                </a:cubicBezTo>
                <a:cubicBezTo>
                  <a:pt x="3117152" y="33140"/>
                  <a:pt x="3083719" y="0"/>
                  <a:pt x="3042761" y="0"/>
                </a:cubicBezTo>
                <a:cubicBezTo>
                  <a:pt x="3001804" y="0"/>
                  <a:pt x="2968371" y="33235"/>
                  <a:pt x="2968371" y="74897"/>
                </a:cubicBezTo>
                <a:moveTo>
                  <a:pt x="2986469" y="682878"/>
                </a:moveTo>
                <a:lnTo>
                  <a:pt x="3099054" y="682878"/>
                </a:lnTo>
                <a:lnTo>
                  <a:pt x="3099054" y="198179"/>
                </a:lnTo>
                <a:lnTo>
                  <a:pt x="2986469" y="198179"/>
                </a:lnTo>
                <a:lnTo>
                  <a:pt x="2986469" y="682878"/>
                </a:lnTo>
                <a:close/>
                <a:moveTo>
                  <a:pt x="2628995" y="682878"/>
                </a:moveTo>
                <a:lnTo>
                  <a:pt x="2742533" y="682878"/>
                </a:lnTo>
                <a:lnTo>
                  <a:pt x="2742533" y="463774"/>
                </a:lnTo>
                <a:cubicBezTo>
                  <a:pt x="2742533" y="377420"/>
                  <a:pt x="2767298" y="320513"/>
                  <a:pt x="2826449" y="299682"/>
                </a:cubicBezTo>
                <a:cubicBezTo>
                  <a:pt x="2850261" y="291161"/>
                  <a:pt x="2878931" y="289267"/>
                  <a:pt x="2913316" y="292108"/>
                </a:cubicBezTo>
                <a:lnTo>
                  <a:pt x="2913316" y="183976"/>
                </a:lnTo>
                <a:cubicBezTo>
                  <a:pt x="2828354" y="179241"/>
                  <a:pt x="2771204" y="211435"/>
                  <a:pt x="2739676" y="297789"/>
                </a:cubicBezTo>
                <a:lnTo>
                  <a:pt x="2739676" y="198179"/>
                </a:lnTo>
                <a:lnTo>
                  <a:pt x="2628995" y="198179"/>
                </a:lnTo>
                <a:lnTo>
                  <a:pt x="2628995" y="682878"/>
                </a:lnTo>
                <a:close/>
                <a:moveTo>
                  <a:pt x="2140744" y="440102"/>
                </a:moveTo>
                <a:cubicBezTo>
                  <a:pt x="2140744" y="339545"/>
                  <a:pt x="2184654" y="275064"/>
                  <a:pt x="2264759" y="275064"/>
                </a:cubicBezTo>
                <a:cubicBezTo>
                  <a:pt x="2340102" y="275064"/>
                  <a:pt x="2392585" y="344280"/>
                  <a:pt x="2392585" y="440102"/>
                </a:cubicBezTo>
                <a:cubicBezTo>
                  <a:pt x="2392585" y="536872"/>
                  <a:pt x="2340102" y="607034"/>
                  <a:pt x="2264759" y="607034"/>
                </a:cubicBezTo>
                <a:cubicBezTo>
                  <a:pt x="2184654" y="607034"/>
                  <a:pt x="2140744" y="541511"/>
                  <a:pt x="2140744" y="440102"/>
                </a:cubicBezTo>
                <a:moveTo>
                  <a:pt x="2242852" y="697081"/>
                </a:moveTo>
                <a:cubicBezTo>
                  <a:pt x="2313432" y="697081"/>
                  <a:pt x="2364962" y="665740"/>
                  <a:pt x="2390775" y="622184"/>
                </a:cubicBezTo>
                <a:lnTo>
                  <a:pt x="2390775" y="682878"/>
                </a:lnTo>
                <a:lnTo>
                  <a:pt x="2505266" y="682878"/>
                </a:lnTo>
                <a:lnTo>
                  <a:pt x="2505266" y="198179"/>
                </a:lnTo>
                <a:lnTo>
                  <a:pt x="2390775" y="198179"/>
                </a:lnTo>
                <a:lnTo>
                  <a:pt x="2390775" y="260766"/>
                </a:lnTo>
                <a:cubicBezTo>
                  <a:pt x="2365058" y="217116"/>
                  <a:pt x="2313527" y="183976"/>
                  <a:pt x="2242852" y="183976"/>
                </a:cubicBezTo>
                <a:cubicBezTo>
                  <a:pt x="2118836" y="183976"/>
                  <a:pt x="2024348" y="280745"/>
                  <a:pt x="2024348" y="440008"/>
                </a:cubicBezTo>
                <a:cubicBezTo>
                  <a:pt x="2024348" y="599270"/>
                  <a:pt x="2118836" y="697081"/>
                  <a:pt x="2242852" y="697081"/>
                </a:cubicBezTo>
                <a:moveTo>
                  <a:pt x="1683068" y="697081"/>
                </a:moveTo>
                <a:cubicBezTo>
                  <a:pt x="1746980" y="697081"/>
                  <a:pt x="1793748" y="671516"/>
                  <a:pt x="1820418" y="623131"/>
                </a:cubicBezTo>
                <a:lnTo>
                  <a:pt x="1820418" y="682878"/>
                </a:lnTo>
                <a:lnTo>
                  <a:pt x="1932051" y="682878"/>
                </a:lnTo>
                <a:lnTo>
                  <a:pt x="1932051" y="198179"/>
                </a:lnTo>
                <a:lnTo>
                  <a:pt x="1818513" y="198179"/>
                </a:lnTo>
                <a:lnTo>
                  <a:pt x="1818513" y="466615"/>
                </a:lnTo>
                <a:cubicBezTo>
                  <a:pt x="1818513" y="564331"/>
                  <a:pt x="1766983" y="604099"/>
                  <a:pt x="1716405" y="604099"/>
                </a:cubicBezTo>
                <a:cubicBezTo>
                  <a:pt x="1659160" y="604099"/>
                  <a:pt x="1634395" y="566130"/>
                  <a:pt x="1634395" y="501649"/>
                </a:cubicBezTo>
                <a:lnTo>
                  <a:pt x="1634395" y="198179"/>
                </a:lnTo>
                <a:lnTo>
                  <a:pt x="1520857" y="198179"/>
                </a:lnTo>
                <a:lnTo>
                  <a:pt x="1520857" y="518787"/>
                </a:lnTo>
                <a:cubicBezTo>
                  <a:pt x="1520952" y="636387"/>
                  <a:pt x="1587722" y="697081"/>
                  <a:pt x="1683068" y="697081"/>
                </a:cubicBezTo>
                <a:moveTo>
                  <a:pt x="1368552" y="687613"/>
                </a:moveTo>
                <a:cubicBezTo>
                  <a:pt x="1395222" y="687613"/>
                  <a:pt x="1424845" y="683825"/>
                  <a:pt x="1441037" y="678144"/>
                </a:cubicBezTo>
                <a:lnTo>
                  <a:pt x="1441037" y="595577"/>
                </a:lnTo>
                <a:cubicBezTo>
                  <a:pt x="1424845" y="598418"/>
                  <a:pt x="1410462" y="600312"/>
                  <a:pt x="1399032" y="600312"/>
                </a:cubicBezTo>
                <a:cubicBezTo>
                  <a:pt x="1351312" y="600312"/>
                  <a:pt x="1334167" y="573800"/>
                  <a:pt x="1334167" y="523521"/>
                </a:cubicBezTo>
                <a:lnTo>
                  <a:pt x="1334167" y="286426"/>
                </a:lnTo>
                <a:lnTo>
                  <a:pt x="1431512" y="286426"/>
                </a:lnTo>
                <a:lnTo>
                  <a:pt x="1431512" y="198179"/>
                </a:lnTo>
                <a:lnTo>
                  <a:pt x="1334167" y="198179"/>
                </a:lnTo>
                <a:lnTo>
                  <a:pt x="1334167" y="55960"/>
                </a:lnTo>
                <a:lnTo>
                  <a:pt x="1223486" y="55960"/>
                </a:lnTo>
                <a:lnTo>
                  <a:pt x="1223486" y="198179"/>
                </a:lnTo>
                <a:lnTo>
                  <a:pt x="1140524" y="198179"/>
                </a:lnTo>
                <a:lnTo>
                  <a:pt x="1140524" y="286426"/>
                </a:lnTo>
                <a:lnTo>
                  <a:pt x="1223486" y="286426"/>
                </a:lnTo>
                <a:lnTo>
                  <a:pt x="1223486" y="544352"/>
                </a:lnTo>
                <a:cubicBezTo>
                  <a:pt x="1223486" y="651537"/>
                  <a:pt x="1289399" y="687613"/>
                  <a:pt x="1368552" y="687613"/>
                </a:cubicBezTo>
                <a:moveTo>
                  <a:pt x="884111" y="697081"/>
                </a:moveTo>
                <a:cubicBezTo>
                  <a:pt x="1011936" y="697081"/>
                  <a:pt x="1093089" y="620291"/>
                  <a:pt x="1106424" y="530149"/>
                </a:cubicBezTo>
                <a:lnTo>
                  <a:pt x="993838" y="530149"/>
                </a:lnTo>
                <a:cubicBezTo>
                  <a:pt x="978599" y="572853"/>
                  <a:pt x="946118" y="604099"/>
                  <a:pt x="886015" y="604099"/>
                </a:cubicBezTo>
                <a:cubicBezTo>
                  <a:pt x="816388" y="604099"/>
                  <a:pt x="761048" y="548140"/>
                  <a:pt x="761048" y="441901"/>
                </a:cubicBezTo>
                <a:cubicBezTo>
                  <a:pt x="761048" y="334716"/>
                  <a:pt x="815435" y="277810"/>
                  <a:pt x="888873" y="277810"/>
                </a:cubicBezTo>
                <a:cubicBezTo>
                  <a:pt x="944213" y="277810"/>
                  <a:pt x="978599" y="308204"/>
                  <a:pt x="993838" y="351760"/>
                </a:cubicBezTo>
                <a:lnTo>
                  <a:pt x="1105472" y="351760"/>
                </a:lnTo>
                <a:cubicBezTo>
                  <a:pt x="1092137" y="260672"/>
                  <a:pt x="1013841" y="184828"/>
                  <a:pt x="886968" y="184828"/>
                </a:cubicBezTo>
                <a:cubicBezTo>
                  <a:pt x="746760" y="184828"/>
                  <a:pt x="641795" y="285385"/>
                  <a:pt x="641795" y="441807"/>
                </a:cubicBezTo>
                <a:cubicBezTo>
                  <a:pt x="641795" y="600312"/>
                  <a:pt x="744855" y="697081"/>
                  <a:pt x="884111" y="697081"/>
                </a:cubicBezTo>
                <a:moveTo>
                  <a:pt x="208026" y="444837"/>
                </a:moveTo>
                <a:lnTo>
                  <a:pt x="252889" y="314927"/>
                </a:lnTo>
                <a:cubicBezTo>
                  <a:pt x="271939" y="265595"/>
                  <a:pt x="290132" y="209636"/>
                  <a:pt x="312039" y="143261"/>
                </a:cubicBezTo>
                <a:lnTo>
                  <a:pt x="312992" y="143261"/>
                </a:lnTo>
                <a:cubicBezTo>
                  <a:pt x="335851" y="209636"/>
                  <a:pt x="354997" y="266542"/>
                  <a:pt x="372142" y="313980"/>
                </a:cubicBezTo>
                <a:lnTo>
                  <a:pt x="417005" y="444837"/>
                </a:lnTo>
                <a:lnTo>
                  <a:pt x="208026" y="444837"/>
                </a:lnTo>
                <a:close/>
                <a:moveTo>
                  <a:pt x="0" y="682878"/>
                </a:moveTo>
                <a:lnTo>
                  <a:pt x="124968" y="682878"/>
                </a:lnTo>
                <a:lnTo>
                  <a:pt x="172688" y="544447"/>
                </a:lnTo>
                <a:lnTo>
                  <a:pt x="451295" y="544447"/>
                </a:lnTo>
                <a:lnTo>
                  <a:pt x="499015" y="682878"/>
                </a:lnTo>
                <a:lnTo>
                  <a:pt x="626840" y="682878"/>
                </a:lnTo>
                <a:lnTo>
                  <a:pt x="380714" y="18937"/>
                </a:lnTo>
                <a:lnTo>
                  <a:pt x="248984" y="18937"/>
                </a:lnTo>
                <a:lnTo>
                  <a:pt x="0" y="682878"/>
                </a:lnTo>
                <a:close/>
              </a:path>
            </a:pathLst>
          </a:custGeom>
          <a:solidFill>
            <a:schemeClr val="accent1"/>
          </a:solidFill>
          <a:ln w="9525"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4FD21CF-524B-AB1F-E0AC-5C7A5BCD6430}"/>
              </a:ext>
            </a:extLst>
          </p:cNvPr>
          <p:cNvSpPr/>
          <p:nvPr userDrawn="1"/>
        </p:nvSpPr>
        <p:spPr>
          <a:xfrm>
            <a:off x="8188346" y="2855934"/>
            <a:ext cx="3692504" cy="3692504"/>
          </a:xfrm>
          <a:custGeom>
            <a:avLst/>
            <a:gdLst>
              <a:gd name="connsiteX0" fmla="*/ 1027937 w 2055876"/>
              <a:gd name="connsiteY0" fmla="*/ 436911 h 2055876"/>
              <a:gd name="connsiteX1" fmla="*/ 436911 w 2055876"/>
              <a:gd name="connsiteY1" fmla="*/ 1027937 h 2055876"/>
              <a:gd name="connsiteX2" fmla="*/ 1027937 w 2055876"/>
              <a:gd name="connsiteY2" fmla="*/ 1619059 h 2055876"/>
              <a:gd name="connsiteX3" fmla="*/ 1618964 w 2055876"/>
              <a:gd name="connsiteY3" fmla="*/ 1027937 h 2055876"/>
              <a:gd name="connsiteX4" fmla="*/ 1027937 w 2055876"/>
              <a:gd name="connsiteY4" fmla="*/ 436911 h 2055876"/>
              <a:gd name="connsiteX5" fmla="*/ 1027938 w 2055876"/>
              <a:gd name="connsiteY5" fmla="*/ 0 h 2055876"/>
              <a:gd name="connsiteX6" fmla="*/ 2055876 w 2055876"/>
              <a:gd name="connsiteY6" fmla="*/ 1027938 h 2055876"/>
              <a:gd name="connsiteX7" fmla="*/ 2055876 w 2055876"/>
              <a:gd name="connsiteY7" fmla="*/ 2055876 h 2055876"/>
              <a:gd name="connsiteX8" fmla="*/ 1027938 w 2055876"/>
              <a:gd name="connsiteY8" fmla="*/ 2055876 h 2055876"/>
              <a:gd name="connsiteX9" fmla="*/ 0 w 2055876"/>
              <a:gd name="connsiteY9" fmla="*/ 1027938 h 2055876"/>
              <a:gd name="connsiteX10" fmla="*/ 1027938 w 2055876"/>
              <a:gd name="connsiteY10" fmla="*/ 0 h 2055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5876" h="2055876">
                <a:moveTo>
                  <a:pt x="1027937" y="436911"/>
                </a:moveTo>
                <a:cubicBezTo>
                  <a:pt x="701516" y="436911"/>
                  <a:pt x="436911" y="701516"/>
                  <a:pt x="436911" y="1027937"/>
                </a:cubicBezTo>
                <a:cubicBezTo>
                  <a:pt x="436911" y="1354454"/>
                  <a:pt x="701516" y="1619059"/>
                  <a:pt x="1027937" y="1619059"/>
                </a:cubicBezTo>
                <a:cubicBezTo>
                  <a:pt x="1354359" y="1619059"/>
                  <a:pt x="1618964" y="1354454"/>
                  <a:pt x="1618964" y="1027937"/>
                </a:cubicBezTo>
                <a:cubicBezTo>
                  <a:pt x="1618964" y="701516"/>
                  <a:pt x="1354359" y="436911"/>
                  <a:pt x="1027937" y="436911"/>
                </a:cubicBezTo>
                <a:close/>
                <a:moveTo>
                  <a:pt x="1027938" y="0"/>
                </a:moveTo>
                <a:cubicBezTo>
                  <a:pt x="1595628" y="0"/>
                  <a:pt x="2055876" y="460248"/>
                  <a:pt x="2055876" y="1027938"/>
                </a:cubicBezTo>
                <a:lnTo>
                  <a:pt x="2055876" y="2055876"/>
                </a:lnTo>
                <a:lnTo>
                  <a:pt x="1027938" y="2055876"/>
                </a:lnTo>
                <a:cubicBezTo>
                  <a:pt x="460248" y="2055876"/>
                  <a:pt x="0" y="1595723"/>
                  <a:pt x="0" y="1027938"/>
                </a:cubicBezTo>
                <a:cubicBezTo>
                  <a:pt x="0" y="460248"/>
                  <a:pt x="460248" y="0"/>
                  <a:pt x="1027938" y="0"/>
                </a:cubicBezTo>
                <a:close/>
              </a:path>
            </a:pathLst>
          </a:custGeom>
          <a:solidFill>
            <a:schemeClr val="accent1"/>
          </a:solidFill>
          <a:ln w="9525" cap="flat">
            <a:noFill/>
            <a:prstDash val="solid"/>
            <a:miter/>
          </a:ln>
        </p:spPr>
        <p:txBody>
          <a:bodyPr rtlCol="0" anchor="ctr"/>
          <a:lstStyle/>
          <a:p>
            <a:endParaRPr lang="en-US"/>
          </a:p>
        </p:txBody>
      </p:sp>
      <p:sp>
        <p:nvSpPr>
          <p:cNvPr id="9" name="Subtitle 2">
            <a:extLst>
              <a:ext uri="{FF2B5EF4-FFF2-40B4-BE49-F238E27FC236}">
                <a16:creationId xmlns:a16="http://schemas.microsoft.com/office/drawing/2014/main" id="{ED8945BC-5907-F1EB-F3C3-F9E148C0C16F}"/>
              </a:ext>
            </a:extLst>
          </p:cNvPr>
          <p:cNvSpPr>
            <a:spLocks noGrp="1"/>
          </p:cNvSpPr>
          <p:nvPr>
            <p:ph type="subTitle" idx="1"/>
          </p:nvPr>
        </p:nvSpPr>
        <p:spPr>
          <a:xfrm>
            <a:off x="338464" y="1122801"/>
            <a:ext cx="5802764" cy="1598604"/>
          </a:xfrm>
        </p:spPr>
        <p:txBody>
          <a:bodyPr anchor="t" anchorCtr="0"/>
          <a:lstStyle>
            <a:lvl1pPr marL="0" indent="0" algn="l">
              <a:spcBef>
                <a:spcPts val="0"/>
              </a:spcBef>
              <a:spcAft>
                <a:spcPts val="0"/>
              </a:spcAft>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3" name="Footer Placeholder 4">
            <a:extLst>
              <a:ext uri="{FF2B5EF4-FFF2-40B4-BE49-F238E27FC236}">
                <a16:creationId xmlns:a16="http://schemas.microsoft.com/office/drawing/2014/main" id="{6DECE934-2A88-71C2-DF08-0CBBE37E633D}"/>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accent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12129217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6181595" y="273659"/>
            <a:ext cx="5699254" cy="5526951"/>
          </a:xfrm>
        </p:spPr>
        <p:txBody>
          <a:bodyPr/>
          <a:lstStyle>
            <a:lvl1pPr marL="0" indent="0">
              <a:spcBef>
                <a:spcPts val="0"/>
              </a:spcBef>
              <a:spcAft>
                <a:spcPts val="0"/>
              </a:spcAft>
              <a:tabLst>
                <a:tab pos="5059363" algn="l"/>
              </a:tabLst>
              <a:defRPr sz="2300">
                <a:solidFill>
                  <a:schemeClr val="tx1"/>
                </a:solidFill>
              </a:defRPr>
            </a:lvl1pPr>
            <a:lvl2pPr>
              <a:defRPr sz="2300">
                <a:solidFill>
                  <a:schemeClr val="tx1"/>
                </a:solidFill>
              </a:defRPr>
            </a:lvl2pPr>
            <a:lvl3pPr>
              <a:defRPr sz="2300">
                <a:solidFill>
                  <a:schemeClr val="tx1"/>
                </a:solidFill>
              </a:defRPr>
            </a:lvl3pPr>
            <a:lvl4pPr>
              <a:defRPr sz="2300">
                <a:solidFill>
                  <a:schemeClr val="tx1"/>
                </a:solidFill>
              </a:defRPr>
            </a:lvl4pPr>
            <a:lvl5pPr>
              <a:defRPr sz="23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p:txBody>
          <a:bodyPr/>
          <a:lstStyle/>
          <a:p>
            <a:fld id="{741AFF56-1126-4107-9C02-BC0EFBF16431}" type="slidenum">
              <a:rPr lang="en-GB" smtClean="0"/>
              <a:t>‹#›</a:t>
            </a:fld>
            <a:endParaRPr lang="en-GB"/>
          </a:p>
        </p:txBody>
      </p:sp>
      <p:sp>
        <p:nvSpPr>
          <p:cNvPr id="12" name="Graphic 9">
            <a:extLst>
              <a:ext uri="{FF2B5EF4-FFF2-40B4-BE49-F238E27FC236}">
                <a16:creationId xmlns:a16="http://schemas.microsoft.com/office/drawing/2014/main" id="{DC6B46B2-5670-951A-34DC-520A5FFF8E92}"/>
              </a:ext>
            </a:extLst>
          </p:cNvPr>
          <p:cNvSpPr/>
          <p:nvPr userDrawn="1"/>
        </p:nvSpPr>
        <p:spPr>
          <a:xfrm>
            <a:off x="352425" y="5770222"/>
            <a:ext cx="1250905" cy="778216"/>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accent1"/>
          </a:solidFill>
          <a:ln w="9509" cap="flat">
            <a:noFill/>
            <a:prstDash val="solid"/>
            <a:miter/>
          </a:ln>
        </p:spPr>
        <p:txBody>
          <a:bodyPr rtlCol="0" anchor="ctr"/>
          <a:lstStyle/>
          <a:p>
            <a:endParaRPr lang="en-US"/>
          </a:p>
        </p:txBody>
      </p:sp>
      <p:sp>
        <p:nvSpPr>
          <p:cNvPr id="4" name="Footer Placeholder 4">
            <a:extLst>
              <a:ext uri="{FF2B5EF4-FFF2-40B4-BE49-F238E27FC236}">
                <a16:creationId xmlns:a16="http://schemas.microsoft.com/office/drawing/2014/main" id="{5620758D-F7DA-9AC4-5413-311A1B9B4919}"/>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tx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38583569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14322" y="269601"/>
            <a:ext cx="11554001" cy="1220996"/>
          </a:xfrm>
        </p:spPr>
        <p:txBody>
          <a:bodyPr/>
          <a:lstStyle>
            <a:lvl1pPr>
              <a:defRPr sz="4200" b="0" i="0">
                <a:solidFill>
                  <a:schemeClr val="bg1"/>
                </a:solidFill>
                <a:latin typeface="+mj-lt"/>
              </a:defRPr>
            </a:lvl1pPr>
          </a:lstStyle>
          <a:p>
            <a:r>
              <a:rPr lang="en-US" dirty="0"/>
              <a:t>Click to edit Master title style</a:t>
            </a:r>
            <a:endParaRPr lang="en-GB" dirty="0"/>
          </a:p>
        </p:txBody>
      </p:sp>
      <p:sp>
        <p:nvSpPr>
          <p:cNvPr id="12" name="Graphic 9">
            <a:extLst>
              <a:ext uri="{FF2B5EF4-FFF2-40B4-BE49-F238E27FC236}">
                <a16:creationId xmlns:a16="http://schemas.microsoft.com/office/drawing/2014/main" id="{DC6B46B2-5670-951A-34DC-520A5FFF8E92}"/>
              </a:ext>
            </a:extLst>
          </p:cNvPr>
          <p:cNvSpPr/>
          <p:nvPr userDrawn="1"/>
        </p:nvSpPr>
        <p:spPr>
          <a:xfrm>
            <a:off x="352425" y="5770222"/>
            <a:ext cx="1250905" cy="778216"/>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bg1"/>
          </a:solidFill>
          <a:ln w="9509" cap="flat">
            <a:noFill/>
            <a:prstDash val="solid"/>
            <a:miter/>
          </a:ln>
        </p:spPr>
        <p:txBody>
          <a:bodyPr rtlCol="0" anchor="ctr"/>
          <a:lstStyle/>
          <a:p>
            <a:endParaRPr lang="en-US"/>
          </a:p>
        </p:txBody>
      </p:sp>
      <p:sp>
        <p:nvSpPr>
          <p:cNvPr id="8" name="Text Placeholder 7">
            <a:extLst>
              <a:ext uri="{FF2B5EF4-FFF2-40B4-BE49-F238E27FC236}">
                <a16:creationId xmlns:a16="http://schemas.microsoft.com/office/drawing/2014/main" id="{6D15CAF0-DBAD-68DB-B4B8-EF505A445D04}"/>
              </a:ext>
            </a:extLst>
          </p:cNvPr>
          <p:cNvSpPr>
            <a:spLocks noGrp="1"/>
          </p:cNvSpPr>
          <p:nvPr>
            <p:ph type="body" sz="quarter" idx="10" hasCustomPrompt="1"/>
          </p:nvPr>
        </p:nvSpPr>
        <p:spPr>
          <a:xfrm>
            <a:off x="6096000" y="3429000"/>
            <a:ext cx="6048267" cy="4010982"/>
          </a:xfrm>
        </p:spPr>
        <p:txBody>
          <a:bodyPr anchor="b" anchorCtr="0"/>
          <a:lstStyle>
            <a:lvl1pPr algn="r">
              <a:defRPr sz="23000">
                <a:solidFill>
                  <a:schemeClr val="bg1"/>
                </a:solidFill>
              </a:defRPr>
            </a:lvl1pPr>
          </a:lstStyle>
          <a:p>
            <a:pPr lvl="0"/>
            <a:r>
              <a:rPr lang="en-GB" dirty="0"/>
              <a:t>#</a:t>
            </a:r>
            <a:endParaRPr lang="en-US" dirty="0"/>
          </a:p>
        </p:txBody>
      </p:sp>
      <p:sp>
        <p:nvSpPr>
          <p:cNvPr id="3" name="Footer Placeholder 4">
            <a:extLst>
              <a:ext uri="{FF2B5EF4-FFF2-40B4-BE49-F238E27FC236}">
                <a16:creationId xmlns:a16="http://schemas.microsoft.com/office/drawing/2014/main" id="{1B43FFE6-B47D-7A61-376C-A8D0D0E06BF7}"/>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6409480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Feature Copy">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14322" y="235980"/>
            <a:ext cx="9804590" cy="4443594"/>
          </a:xfrm>
        </p:spPr>
        <p:txBody>
          <a:bodyPr/>
          <a:lstStyle>
            <a:lvl1pPr>
              <a:lnSpc>
                <a:spcPct val="100000"/>
              </a:lnSpc>
              <a:defRPr sz="3500" b="0" i="0">
                <a:solidFill>
                  <a:schemeClr val="tx1"/>
                </a:solidFill>
                <a:latin typeface="+mj-lt"/>
              </a:defRPr>
            </a:lvl1pPr>
          </a:lstStyle>
          <a:p>
            <a:r>
              <a:rPr lang="en-US" dirty="0"/>
              <a:t>Click to edit Master title style</a:t>
            </a:r>
            <a:endParaRPr lang="en-GB" dirty="0"/>
          </a:p>
        </p:txBody>
      </p:sp>
      <p:sp>
        <p:nvSpPr>
          <p:cNvPr id="3" name="Graphic 9">
            <a:extLst>
              <a:ext uri="{FF2B5EF4-FFF2-40B4-BE49-F238E27FC236}">
                <a16:creationId xmlns:a16="http://schemas.microsoft.com/office/drawing/2014/main" id="{9B1AB03E-57D3-D012-D1A8-49BD6BF75415}"/>
              </a:ext>
            </a:extLst>
          </p:cNvPr>
          <p:cNvSpPr/>
          <p:nvPr userDrawn="1"/>
        </p:nvSpPr>
        <p:spPr>
          <a:xfrm>
            <a:off x="352425" y="5770222"/>
            <a:ext cx="1250905" cy="778216"/>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tx1"/>
          </a:solidFill>
          <a:ln w="9509" cap="flat">
            <a:noFill/>
            <a:prstDash val="solid"/>
            <a:miter/>
          </a:ln>
        </p:spPr>
        <p:txBody>
          <a:bodyPr rtlCol="0" anchor="ctr"/>
          <a:lstStyle/>
          <a:p>
            <a:endParaRPr lang="en-US"/>
          </a:p>
        </p:txBody>
      </p:sp>
      <p:sp>
        <p:nvSpPr>
          <p:cNvPr id="8" name="Slide Number Placeholder 7">
            <a:extLst>
              <a:ext uri="{FF2B5EF4-FFF2-40B4-BE49-F238E27FC236}">
                <a16:creationId xmlns:a16="http://schemas.microsoft.com/office/drawing/2014/main" id="{231C67D6-C5B6-BEE1-88C5-321259FD8646}"/>
              </a:ext>
            </a:extLst>
          </p:cNvPr>
          <p:cNvSpPr>
            <a:spLocks noGrp="1"/>
          </p:cNvSpPr>
          <p:nvPr>
            <p:ph type="sldNum" sz="quarter" idx="12"/>
          </p:nvPr>
        </p:nvSpPr>
        <p:spPr/>
        <p:txBody>
          <a:bodyPr/>
          <a:lstStyle>
            <a:lvl1pPr>
              <a:defRPr>
                <a:solidFill>
                  <a:schemeClr val="tx1"/>
                </a:solidFill>
              </a:defRPr>
            </a:lvl1pPr>
          </a:lstStyle>
          <a:p>
            <a:fld id="{741AFF56-1126-4107-9C02-BC0EFBF16431}" type="slidenum">
              <a:rPr lang="en-GB" smtClean="0"/>
              <a:pPr/>
              <a:t>‹#›</a:t>
            </a:fld>
            <a:endParaRPr lang="en-GB" dirty="0"/>
          </a:p>
        </p:txBody>
      </p:sp>
      <p:sp>
        <p:nvSpPr>
          <p:cNvPr id="4" name="Footer Placeholder 4">
            <a:extLst>
              <a:ext uri="{FF2B5EF4-FFF2-40B4-BE49-F238E27FC236}">
                <a16:creationId xmlns:a16="http://schemas.microsoft.com/office/drawing/2014/main" id="{1B4E5E3E-E595-2D73-908E-8B9477FF7518}"/>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tx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2416771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378F8866-9DAD-2F19-71C0-40E571A05C88}"/>
              </a:ext>
            </a:extLst>
          </p:cNvPr>
          <p:cNvSpPr/>
          <p:nvPr userDrawn="1"/>
        </p:nvSpPr>
        <p:spPr>
          <a:xfrm>
            <a:off x="6603805" y="1271393"/>
            <a:ext cx="5277046" cy="5277046"/>
          </a:xfrm>
          <a:custGeom>
            <a:avLst/>
            <a:gdLst>
              <a:gd name="connsiteX0" fmla="*/ 2055876 w 2055875"/>
              <a:gd name="connsiteY0" fmla="*/ 2055876 h 2055875"/>
              <a:gd name="connsiteX1" fmla="*/ 2055876 w 2055875"/>
              <a:gd name="connsiteY1" fmla="*/ 1027938 h 2055875"/>
              <a:gd name="connsiteX2" fmla="*/ 1027938 w 2055875"/>
              <a:gd name="connsiteY2" fmla="*/ 0 h 2055875"/>
              <a:gd name="connsiteX3" fmla="*/ 0 w 2055875"/>
              <a:gd name="connsiteY3" fmla="*/ 1027938 h 2055875"/>
              <a:gd name="connsiteX4" fmla="*/ 1027938 w 2055875"/>
              <a:gd name="connsiteY4" fmla="*/ 2055876 h 2055875"/>
              <a:gd name="connsiteX5" fmla="*/ 2055876 w 2055875"/>
              <a:gd name="connsiteY5" fmla="*/ 2055876 h 205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5875" h="2055875">
                <a:moveTo>
                  <a:pt x="2055876" y="2055876"/>
                </a:moveTo>
                <a:lnTo>
                  <a:pt x="2055876" y="1027938"/>
                </a:lnTo>
                <a:cubicBezTo>
                  <a:pt x="2055876" y="460248"/>
                  <a:pt x="1595628" y="0"/>
                  <a:pt x="1027938" y="0"/>
                </a:cubicBezTo>
                <a:cubicBezTo>
                  <a:pt x="460248" y="0"/>
                  <a:pt x="0" y="460248"/>
                  <a:pt x="0" y="1027938"/>
                </a:cubicBezTo>
                <a:cubicBezTo>
                  <a:pt x="0" y="1595723"/>
                  <a:pt x="460248" y="2055876"/>
                  <a:pt x="1027938" y="2055876"/>
                </a:cubicBezTo>
                <a:lnTo>
                  <a:pt x="2055876" y="2055876"/>
                </a:lnTo>
                <a:close/>
              </a:path>
            </a:pathLst>
          </a:custGeom>
          <a:solidFill>
            <a:schemeClr val="bg1"/>
          </a:solidFill>
          <a:ln w="9525"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14322" y="269601"/>
            <a:ext cx="11554001" cy="1220996"/>
          </a:xfrm>
        </p:spPr>
        <p:txBody>
          <a:bodyPr/>
          <a:lstStyle>
            <a:lvl1pPr>
              <a:defRPr sz="4200" b="0" i="0">
                <a:solidFill>
                  <a:schemeClr val="bg1"/>
                </a:solidFill>
                <a:latin typeface="+mj-lt"/>
              </a:defRPr>
            </a:lvl1pPr>
          </a:lstStyle>
          <a:p>
            <a:r>
              <a:rPr lang="en-US" dirty="0"/>
              <a:t>Click to edit Master title style</a:t>
            </a:r>
            <a:endParaRPr lang="en-GB" dirty="0"/>
          </a:p>
        </p:txBody>
      </p:sp>
      <p:sp>
        <p:nvSpPr>
          <p:cNvPr id="18" name="Graphic 16">
            <a:extLst>
              <a:ext uri="{FF2B5EF4-FFF2-40B4-BE49-F238E27FC236}">
                <a16:creationId xmlns:a16="http://schemas.microsoft.com/office/drawing/2014/main" id="{05D16763-91CF-A8AE-40FD-F33DB51DCF46}"/>
              </a:ext>
            </a:extLst>
          </p:cNvPr>
          <p:cNvSpPr/>
          <p:nvPr userDrawn="1"/>
        </p:nvSpPr>
        <p:spPr>
          <a:xfrm>
            <a:off x="352426" y="6216963"/>
            <a:ext cx="862600" cy="331475"/>
          </a:xfrm>
          <a:custGeom>
            <a:avLst/>
            <a:gdLst>
              <a:gd name="connsiteX0" fmla="*/ 3092178 w 3469189"/>
              <a:gd name="connsiteY0" fmla="*/ 1327542 h 1333121"/>
              <a:gd name="connsiteX1" fmla="*/ 3153161 w 3469189"/>
              <a:gd name="connsiteY1" fmla="*/ 1266731 h 1333121"/>
              <a:gd name="connsiteX2" fmla="*/ 3092178 w 3469189"/>
              <a:gd name="connsiteY2" fmla="*/ 1206770 h 1333121"/>
              <a:gd name="connsiteX3" fmla="*/ 3031100 w 3469189"/>
              <a:gd name="connsiteY3" fmla="*/ 1266731 h 1333121"/>
              <a:gd name="connsiteX4" fmla="*/ 3092178 w 3469189"/>
              <a:gd name="connsiteY4" fmla="*/ 1327542 h 1333121"/>
              <a:gd name="connsiteX5" fmla="*/ 2665013 w 3469189"/>
              <a:gd name="connsiteY5" fmla="*/ 1078244 h 1333121"/>
              <a:gd name="connsiteX6" fmla="*/ 2772825 w 3469189"/>
              <a:gd name="connsiteY6" fmla="*/ 981210 h 1333121"/>
              <a:gd name="connsiteX7" fmla="*/ 2879783 w 3469189"/>
              <a:gd name="connsiteY7" fmla="*/ 1078244 h 1333121"/>
              <a:gd name="connsiteX8" fmla="*/ 2665013 w 3469189"/>
              <a:gd name="connsiteY8" fmla="*/ 1078244 h 1333121"/>
              <a:gd name="connsiteX9" fmla="*/ 2776720 w 3469189"/>
              <a:gd name="connsiteY9" fmla="*/ 1333122 h 1333121"/>
              <a:gd name="connsiteX10" fmla="*/ 2962993 w 3469189"/>
              <a:gd name="connsiteY10" fmla="*/ 1216322 h 1333121"/>
              <a:gd name="connsiteX11" fmla="*/ 2863160 w 3469189"/>
              <a:gd name="connsiteY11" fmla="*/ 1216322 h 1333121"/>
              <a:gd name="connsiteX12" fmla="*/ 2778334 w 3469189"/>
              <a:gd name="connsiteY12" fmla="*/ 1258881 h 1333121"/>
              <a:gd name="connsiteX13" fmla="*/ 2663398 w 3469189"/>
              <a:gd name="connsiteY13" fmla="*/ 1146810 h 1333121"/>
              <a:gd name="connsiteX14" fmla="*/ 2974012 w 3469189"/>
              <a:gd name="connsiteY14" fmla="*/ 1146810 h 1333121"/>
              <a:gd name="connsiteX15" fmla="*/ 2770355 w 3469189"/>
              <a:gd name="connsiteY15" fmla="*/ 906213 h 1333121"/>
              <a:gd name="connsiteX16" fmla="*/ 2567459 w 3469189"/>
              <a:gd name="connsiteY16" fmla="*/ 1120802 h 1333121"/>
              <a:gd name="connsiteX17" fmla="*/ 2776720 w 3469189"/>
              <a:gd name="connsiteY17" fmla="*/ 1333122 h 1333121"/>
              <a:gd name="connsiteX18" fmla="*/ 2467721 w 3469189"/>
              <a:gd name="connsiteY18" fmla="*/ 1325177 h 1333121"/>
              <a:gd name="connsiteX19" fmla="*/ 2527944 w 3469189"/>
              <a:gd name="connsiteY19" fmla="*/ 1317233 h 1333121"/>
              <a:gd name="connsiteX20" fmla="*/ 2527944 w 3469189"/>
              <a:gd name="connsiteY20" fmla="*/ 1248572 h 1333121"/>
              <a:gd name="connsiteX21" fmla="*/ 2493082 w 3469189"/>
              <a:gd name="connsiteY21" fmla="*/ 1252544 h 1333121"/>
              <a:gd name="connsiteX22" fmla="*/ 2439224 w 3469189"/>
              <a:gd name="connsiteY22" fmla="*/ 1188612 h 1333121"/>
              <a:gd name="connsiteX23" fmla="*/ 2439224 w 3469189"/>
              <a:gd name="connsiteY23" fmla="*/ 991424 h 1333121"/>
              <a:gd name="connsiteX24" fmla="*/ 2520059 w 3469189"/>
              <a:gd name="connsiteY24" fmla="*/ 991424 h 1333121"/>
              <a:gd name="connsiteX25" fmla="*/ 2520059 w 3469189"/>
              <a:gd name="connsiteY25" fmla="*/ 918034 h 1333121"/>
              <a:gd name="connsiteX26" fmla="*/ 2439224 w 3469189"/>
              <a:gd name="connsiteY26" fmla="*/ 918034 h 1333121"/>
              <a:gd name="connsiteX27" fmla="*/ 2439224 w 3469189"/>
              <a:gd name="connsiteY27" fmla="*/ 799722 h 1333121"/>
              <a:gd name="connsiteX28" fmla="*/ 2347274 w 3469189"/>
              <a:gd name="connsiteY28" fmla="*/ 799722 h 1333121"/>
              <a:gd name="connsiteX29" fmla="*/ 2347274 w 3469189"/>
              <a:gd name="connsiteY29" fmla="*/ 918034 h 1333121"/>
              <a:gd name="connsiteX30" fmla="*/ 2278312 w 3469189"/>
              <a:gd name="connsiteY30" fmla="*/ 918034 h 1333121"/>
              <a:gd name="connsiteX31" fmla="*/ 2278312 w 3469189"/>
              <a:gd name="connsiteY31" fmla="*/ 991424 h 1333121"/>
              <a:gd name="connsiteX32" fmla="*/ 2347274 w 3469189"/>
              <a:gd name="connsiteY32" fmla="*/ 991424 h 1333121"/>
              <a:gd name="connsiteX33" fmla="*/ 2347274 w 3469189"/>
              <a:gd name="connsiteY33" fmla="*/ 1206014 h 1333121"/>
              <a:gd name="connsiteX34" fmla="*/ 2467721 w 3469189"/>
              <a:gd name="connsiteY34" fmla="*/ 1325177 h 1333121"/>
              <a:gd name="connsiteX35" fmla="*/ 2012058 w 3469189"/>
              <a:gd name="connsiteY35" fmla="*/ 1333122 h 1333121"/>
              <a:gd name="connsiteX36" fmla="*/ 2126140 w 3469189"/>
              <a:gd name="connsiteY36" fmla="*/ 1271554 h 1333121"/>
              <a:gd name="connsiteX37" fmla="*/ 2126140 w 3469189"/>
              <a:gd name="connsiteY37" fmla="*/ 1321300 h 1333121"/>
              <a:gd name="connsiteX38" fmla="*/ 2218849 w 3469189"/>
              <a:gd name="connsiteY38" fmla="*/ 1321300 h 1333121"/>
              <a:gd name="connsiteX39" fmla="*/ 2218849 w 3469189"/>
              <a:gd name="connsiteY39" fmla="*/ 918129 h 1333121"/>
              <a:gd name="connsiteX40" fmla="*/ 2124525 w 3469189"/>
              <a:gd name="connsiteY40" fmla="*/ 918129 h 1333121"/>
              <a:gd name="connsiteX41" fmla="*/ 2124525 w 3469189"/>
              <a:gd name="connsiteY41" fmla="*/ 1141419 h 1333121"/>
              <a:gd name="connsiteX42" fmla="*/ 2039700 w 3469189"/>
              <a:gd name="connsiteY42" fmla="*/ 1255854 h 1333121"/>
              <a:gd name="connsiteX43" fmla="*/ 1971593 w 3469189"/>
              <a:gd name="connsiteY43" fmla="*/ 1170643 h 1333121"/>
              <a:gd name="connsiteX44" fmla="*/ 1971593 w 3469189"/>
              <a:gd name="connsiteY44" fmla="*/ 918129 h 1333121"/>
              <a:gd name="connsiteX45" fmla="*/ 1877269 w 3469189"/>
              <a:gd name="connsiteY45" fmla="*/ 918129 h 1333121"/>
              <a:gd name="connsiteX46" fmla="*/ 1877269 w 3469189"/>
              <a:gd name="connsiteY46" fmla="*/ 1184829 h 1333121"/>
              <a:gd name="connsiteX47" fmla="*/ 2012058 w 3469189"/>
              <a:gd name="connsiteY47" fmla="*/ 1333122 h 1333121"/>
              <a:gd name="connsiteX48" fmla="*/ 1749698 w 3469189"/>
              <a:gd name="connsiteY48" fmla="*/ 1325177 h 1333121"/>
              <a:gd name="connsiteX49" fmla="*/ 1809921 w 3469189"/>
              <a:gd name="connsiteY49" fmla="*/ 1317233 h 1333121"/>
              <a:gd name="connsiteX50" fmla="*/ 1809921 w 3469189"/>
              <a:gd name="connsiteY50" fmla="*/ 1248572 h 1333121"/>
              <a:gd name="connsiteX51" fmla="*/ 1775060 w 3469189"/>
              <a:gd name="connsiteY51" fmla="*/ 1252544 h 1333121"/>
              <a:gd name="connsiteX52" fmla="*/ 1721201 w 3469189"/>
              <a:gd name="connsiteY52" fmla="*/ 1188612 h 1333121"/>
              <a:gd name="connsiteX53" fmla="*/ 1721201 w 3469189"/>
              <a:gd name="connsiteY53" fmla="*/ 991424 h 1333121"/>
              <a:gd name="connsiteX54" fmla="*/ 1802037 w 3469189"/>
              <a:gd name="connsiteY54" fmla="*/ 991424 h 1333121"/>
              <a:gd name="connsiteX55" fmla="*/ 1802037 w 3469189"/>
              <a:gd name="connsiteY55" fmla="*/ 918034 h 1333121"/>
              <a:gd name="connsiteX56" fmla="*/ 1721201 w 3469189"/>
              <a:gd name="connsiteY56" fmla="*/ 918034 h 1333121"/>
              <a:gd name="connsiteX57" fmla="*/ 1721201 w 3469189"/>
              <a:gd name="connsiteY57" fmla="*/ 799722 h 1333121"/>
              <a:gd name="connsiteX58" fmla="*/ 1629252 w 3469189"/>
              <a:gd name="connsiteY58" fmla="*/ 799722 h 1333121"/>
              <a:gd name="connsiteX59" fmla="*/ 1629252 w 3469189"/>
              <a:gd name="connsiteY59" fmla="*/ 918034 h 1333121"/>
              <a:gd name="connsiteX60" fmla="*/ 1560290 w 3469189"/>
              <a:gd name="connsiteY60" fmla="*/ 918034 h 1333121"/>
              <a:gd name="connsiteX61" fmla="*/ 1560290 w 3469189"/>
              <a:gd name="connsiteY61" fmla="*/ 991424 h 1333121"/>
              <a:gd name="connsiteX62" fmla="*/ 1629252 w 3469189"/>
              <a:gd name="connsiteY62" fmla="*/ 991424 h 1333121"/>
              <a:gd name="connsiteX63" fmla="*/ 1629252 w 3469189"/>
              <a:gd name="connsiteY63" fmla="*/ 1206014 h 1333121"/>
              <a:gd name="connsiteX64" fmla="*/ 1749698 w 3469189"/>
              <a:gd name="connsiteY64" fmla="*/ 1325177 h 1333121"/>
              <a:gd name="connsiteX65" fmla="*/ 1392349 w 3469189"/>
              <a:gd name="connsiteY65" fmla="*/ 815516 h 1333121"/>
              <a:gd name="connsiteX66" fmla="*/ 1454187 w 3469189"/>
              <a:gd name="connsiteY66" fmla="*/ 877084 h 1333121"/>
              <a:gd name="connsiteX67" fmla="*/ 1516025 w 3469189"/>
              <a:gd name="connsiteY67" fmla="*/ 815516 h 1333121"/>
              <a:gd name="connsiteX68" fmla="*/ 1454187 w 3469189"/>
              <a:gd name="connsiteY68" fmla="*/ 753191 h 1333121"/>
              <a:gd name="connsiteX69" fmla="*/ 1392349 w 3469189"/>
              <a:gd name="connsiteY69" fmla="*/ 815516 h 1333121"/>
              <a:gd name="connsiteX70" fmla="*/ 1407358 w 3469189"/>
              <a:gd name="connsiteY70" fmla="*/ 1321205 h 1333121"/>
              <a:gd name="connsiteX71" fmla="*/ 1500827 w 3469189"/>
              <a:gd name="connsiteY71" fmla="*/ 1321205 h 1333121"/>
              <a:gd name="connsiteX72" fmla="*/ 1500827 w 3469189"/>
              <a:gd name="connsiteY72" fmla="*/ 918034 h 1333121"/>
              <a:gd name="connsiteX73" fmla="*/ 1407358 w 3469189"/>
              <a:gd name="connsiteY73" fmla="*/ 918034 h 1333121"/>
              <a:gd name="connsiteX74" fmla="*/ 1407358 w 3469189"/>
              <a:gd name="connsiteY74" fmla="*/ 1321205 h 1333121"/>
              <a:gd name="connsiteX75" fmla="*/ 1275798 w 3469189"/>
              <a:gd name="connsiteY75" fmla="*/ 1325177 h 1333121"/>
              <a:gd name="connsiteX76" fmla="*/ 1336021 w 3469189"/>
              <a:gd name="connsiteY76" fmla="*/ 1317233 h 1333121"/>
              <a:gd name="connsiteX77" fmla="*/ 1336021 w 3469189"/>
              <a:gd name="connsiteY77" fmla="*/ 1248572 h 1333121"/>
              <a:gd name="connsiteX78" fmla="*/ 1301160 w 3469189"/>
              <a:gd name="connsiteY78" fmla="*/ 1252544 h 1333121"/>
              <a:gd name="connsiteX79" fmla="*/ 1247301 w 3469189"/>
              <a:gd name="connsiteY79" fmla="*/ 1188612 h 1333121"/>
              <a:gd name="connsiteX80" fmla="*/ 1247301 w 3469189"/>
              <a:gd name="connsiteY80" fmla="*/ 991424 h 1333121"/>
              <a:gd name="connsiteX81" fmla="*/ 1328137 w 3469189"/>
              <a:gd name="connsiteY81" fmla="*/ 991424 h 1333121"/>
              <a:gd name="connsiteX82" fmla="*/ 1328137 w 3469189"/>
              <a:gd name="connsiteY82" fmla="*/ 918034 h 1333121"/>
              <a:gd name="connsiteX83" fmla="*/ 1247301 w 3469189"/>
              <a:gd name="connsiteY83" fmla="*/ 918034 h 1333121"/>
              <a:gd name="connsiteX84" fmla="*/ 1247301 w 3469189"/>
              <a:gd name="connsiteY84" fmla="*/ 799722 h 1333121"/>
              <a:gd name="connsiteX85" fmla="*/ 1155352 w 3469189"/>
              <a:gd name="connsiteY85" fmla="*/ 799722 h 1333121"/>
              <a:gd name="connsiteX86" fmla="*/ 1155352 w 3469189"/>
              <a:gd name="connsiteY86" fmla="*/ 918034 h 1333121"/>
              <a:gd name="connsiteX87" fmla="*/ 1086390 w 3469189"/>
              <a:gd name="connsiteY87" fmla="*/ 918034 h 1333121"/>
              <a:gd name="connsiteX88" fmla="*/ 1086390 w 3469189"/>
              <a:gd name="connsiteY88" fmla="*/ 991424 h 1333121"/>
              <a:gd name="connsiteX89" fmla="*/ 1155352 w 3469189"/>
              <a:gd name="connsiteY89" fmla="*/ 991424 h 1333121"/>
              <a:gd name="connsiteX90" fmla="*/ 1155352 w 3469189"/>
              <a:gd name="connsiteY90" fmla="*/ 1206014 h 1333121"/>
              <a:gd name="connsiteX91" fmla="*/ 1275798 w 3469189"/>
              <a:gd name="connsiteY91" fmla="*/ 1325177 h 1333121"/>
              <a:gd name="connsiteX92" fmla="*/ 878839 w 3469189"/>
              <a:gd name="connsiteY92" fmla="*/ 1333122 h 1333121"/>
              <a:gd name="connsiteX93" fmla="*/ 1057988 w 3469189"/>
              <a:gd name="connsiteY93" fmla="*/ 1202136 h 1333121"/>
              <a:gd name="connsiteX94" fmla="*/ 909805 w 3469189"/>
              <a:gd name="connsiteY94" fmla="*/ 1080608 h 1333121"/>
              <a:gd name="connsiteX95" fmla="*/ 860696 w 3469189"/>
              <a:gd name="connsiteY95" fmla="*/ 1069543 h 1333121"/>
              <a:gd name="connsiteX96" fmla="*/ 796483 w 3469189"/>
              <a:gd name="connsiteY96" fmla="*/ 1023012 h 1333121"/>
              <a:gd name="connsiteX97" fmla="*/ 866205 w 3469189"/>
              <a:gd name="connsiteY97" fmla="*/ 975630 h 1333121"/>
              <a:gd name="connsiteX98" fmla="*/ 949415 w 3469189"/>
              <a:gd name="connsiteY98" fmla="*/ 1026890 h 1333121"/>
              <a:gd name="connsiteX99" fmla="*/ 1043740 w 3469189"/>
              <a:gd name="connsiteY99" fmla="*/ 1026890 h 1333121"/>
              <a:gd name="connsiteX100" fmla="*/ 867060 w 3469189"/>
              <a:gd name="connsiteY100" fmla="*/ 906969 h 1333121"/>
              <a:gd name="connsiteX101" fmla="*/ 700639 w 3469189"/>
              <a:gd name="connsiteY101" fmla="*/ 1028497 h 1333121"/>
              <a:gd name="connsiteX102" fmla="*/ 836948 w 3469189"/>
              <a:gd name="connsiteY102" fmla="*/ 1148418 h 1333121"/>
              <a:gd name="connsiteX103" fmla="*/ 884538 w 3469189"/>
              <a:gd name="connsiteY103" fmla="*/ 1158632 h 1333121"/>
              <a:gd name="connsiteX104" fmla="*/ 962239 w 3469189"/>
              <a:gd name="connsiteY104" fmla="*/ 1211499 h 1333121"/>
              <a:gd name="connsiteX105" fmla="*/ 883778 w 3469189"/>
              <a:gd name="connsiteY105" fmla="*/ 1263610 h 1333121"/>
              <a:gd name="connsiteX106" fmla="*/ 787934 w 3469189"/>
              <a:gd name="connsiteY106" fmla="*/ 1195800 h 1333121"/>
              <a:gd name="connsiteX107" fmla="*/ 686486 w 3469189"/>
              <a:gd name="connsiteY107" fmla="*/ 1195800 h 1333121"/>
              <a:gd name="connsiteX108" fmla="*/ 878839 w 3469189"/>
              <a:gd name="connsiteY108" fmla="*/ 1333122 h 1333121"/>
              <a:gd name="connsiteX109" fmla="*/ 271764 w 3469189"/>
              <a:gd name="connsiteY109" fmla="*/ 1321205 h 1333121"/>
              <a:gd name="connsiteX110" fmla="*/ 366088 w 3469189"/>
              <a:gd name="connsiteY110" fmla="*/ 1321205 h 1333121"/>
              <a:gd name="connsiteX111" fmla="*/ 366088 w 3469189"/>
              <a:gd name="connsiteY111" fmla="*/ 1096402 h 1333121"/>
              <a:gd name="connsiteX112" fmla="*/ 457182 w 3469189"/>
              <a:gd name="connsiteY112" fmla="*/ 983574 h 1333121"/>
              <a:gd name="connsiteX113" fmla="*/ 523770 w 3469189"/>
              <a:gd name="connsiteY113" fmla="*/ 1060936 h 1333121"/>
              <a:gd name="connsiteX114" fmla="*/ 523770 w 3469189"/>
              <a:gd name="connsiteY114" fmla="*/ 1321300 h 1333121"/>
              <a:gd name="connsiteX115" fmla="*/ 618854 w 3469189"/>
              <a:gd name="connsiteY115" fmla="*/ 1321300 h 1333121"/>
              <a:gd name="connsiteX116" fmla="*/ 618854 w 3469189"/>
              <a:gd name="connsiteY116" fmla="*/ 1053087 h 1333121"/>
              <a:gd name="connsiteX117" fmla="*/ 484159 w 3469189"/>
              <a:gd name="connsiteY117" fmla="*/ 906307 h 1333121"/>
              <a:gd name="connsiteX118" fmla="*/ 363713 w 3469189"/>
              <a:gd name="connsiteY118" fmla="*/ 970239 h 1333121"/>
              <a:gd name="connsiteX119" fmla="*/ 363713 w 3469189"/>
              <a:gd name="connsiteY119" fmla="*/ 918129 h 1333121"/>
              <a:gd name="connsiteX120" fmla="*/ 271764 w 3469189"/>
              <a:gd name="connsiteY120" fmla="*/ 918129 h 1333121"/>
              <a:gd name="connsiteX121" fmla="*/ 271764 w 3469189"/>
              <a:gd name="connsiteY121" fmla="*/ 1321205 h 1333121"/>
              <a:gd name="connsiteX122" fmla="*/ 271764 w 3469189"/>
              <a:gd name="connsiteY122" fmla="*/ 1321205 h 1333121"/>
              <a:gd name="connsiteX123" fmla="*/ 65732 w 3469189"/>
              <a:gd name="connsiteY123" fmla="*/ 1321205 h 1333121"/>
              <a:gd name="connsiteX124" fmla="*/ 164806 w 3469189"/>
              <a:gd name="connsiteY124" fmla="*/ 1321205 h 1333121"/>
              <a:gd name="connsiteX125" fmla="*/ 164806 w 3469189"/>
              <a:gd name="connsiteY125" fmla="*/ 768890 h 1333121"/>
              <a:gd name="connsiteX126" fmla="*/ 65732 w 3469189"/>
              <a:gd name="connsiteY126" fmla="*/ 768890 h 1333121"/>
              <a:gd name="connsiteX127" fmla="*/ 65732 w 3469189"/>
              <a:gd name="connsiteY127" fmla="*/ 1321205 h 1333121"/>
              <a:gd name="connsiteX128" fmla="*/ 65732 w 3469189"/>
              <a:gd name="connsiteY128" fmla="*/ 1321205 h 1333121"/>
              <a:gd name="connsiteX129" fmla="*/ 3290040 w 3469189"/>
              <a:gd name="connsiteY129" fmla="*/ 579931 h 1333121"/>
              <a:gd name="connsiteX130" fmla="*/ 3469190 w 3469189"/>
              <a:gd name="connsiteY130" fmla="*/ 448945 h 1333121"/>
              <a:gd name="connsiteX131" fmla="*/ 3321007 w 3469189"/>
              <a:gd name="connsiteY131" fmla="*/ 327417 h 1333121"/>
              <a:gd name="connsiteX132" fmla="*/ 3271898 w 3469189"/>
              <a:gd name="connsiteY132" fmla="*/ 316352 h 1333121"/>
              <a:gd name="connsiteX133" fmla="*/ 3207685 w 3469189"/>
              <a:gd name="connsiteY133" fmla="*/ 269821 h 1333121"/>
              <a:gd name="connsiteX134" fmla="*/ 3277407 w 3469189"/>
              <a:gd name="connsiteY134" fmla="*/ 222534 h 1333121"/>
              <a:gd name="connsiteX135" fmla="*/ 3360617 w 3469189"/>
              <a:gd name="connsiteY135" fmla="*/ 273793 h 1333121"/>
              <a:gd name="connsiteX136" fmla="*/ 3454942 w 3469189"/>
              <a:gd name="connsiteY136" fmla="*/ 273793 h 1333121"/>
              <a:gd name="connsiteX137" fmla="*/ 3278262 w 3469189"/>
              <a:gd name="connsiteY137" fmla="*/ 153873 h 1333121"/>
              <a:gd name="connsiteX138" fmla="*/ 3111841 w 3469189"/>
              <a:gd name="connsiteY138" fmla="*/ 275401 h 1333121"/>
              <a:gd name="connsiteX139" fmla="*/ 3248151 w 3469189"/>
              <a:gd name="connsiteY139" fmla="*/ 395321 h 1333121"/>
              <a:gd name="connsiteX140" fmla="*/ 3295740 w 3469189"/>
              <a:gd name="connsiteY140" fmla="*/ 405535 h 1333121"/>
              <a:gd name="connsiteX141" fmla="*/ 3373441 w 3469189"/>
              <a:gd name="connsiteY141" fmla="*/ 458402 h 1333121"/>
              <a:gd name="connsiteX142" fmla="*/ 3294980 w 3469189"/>
              <a:gd name="connsiteY142" fmla="*/ 510513 h 1333121"/>
              <a:gd name="connsiteX143" fmla="*/ 3199136 w 3469189"/>
              <a:gd name="connsiteY143" fmla="*/ 442703 h 1333121"/>
              <a:gd name="connsiteX144" fmla="*/ 3097688 w 3469189"/>
              <a:gd name="connsiteY144" fmla="*/ 442703 h 1333121"/>
              <a:gd name="connsiteX145" fmla="*/ 3290040 w 3469189"/>
              <a:gd name="connsiteY145" fmla="*/ 579931 h 1333121"/>
              <a:gd name="connsiteX146" fmla="*/ 2747463 w 3469189"/>
              <a:gd name="connsiteY146" fmla="*/ 325052 h 1333121"/>
              <a:gd name="connsiteX147" fmla="*/ 2855276 w 3469189"/>
              <a:gd name="connsiteY147" fmla="*/ 228019 h 1333121"/>
              <a:gd name="connsiteX148" fmla="*/ 2962233 w 3469189"/>
              <a:gd name="connsiteY148" fmla="*/ 325052 h 1333121"/>
              <a:gd name="connsiteX149" fmla="*/ 2747463 w 3469189"/>
              <a:gd name="connsiteY149" fmla="*/ 325052 h 1333121"/>
              <a:gd name="connsiteX150" fmla="*/ 2859170 w 3469189"/>
              <a:gd name="connsiteY150" fmla="*/ 579931 h 1333121"/>
              <a:gd name="connsiteX151" fmla="*/ 3045444 w 3469189"/>
              <a:gd name="connsiteY151" fmla="*/ 463131 h 1333121"/>
              <a:gd name="connsiteX152" fmla="*/ 2945610 w 3469189"/>
              <a:gd name="connsiteY152" fmla="*/ 463131 h 1333121"/>
              <a:gd name="connsiteX153" fmla="*/ 2860785 w 3469189"/>
              <a:gd name="connsiteY153" fmla="*/ 505690 h 1333121"/>
              <a:gd name="connsiteX154" fmla="*/ 2745848 w 3469189"/>
              <a:gd name="connsiteY154" fmla="*/ 393619 h 1333121"/>
              <a:gd name="connsiteX155" fmla="*/ 3056462 w 3469189"/>
              <a:gd name="connsiteY155" fmla="*/ 393619 h 1333121"/>
              <a:gd name="connsiteX156" fmla="*/ 2852806 w 3469189"/>
              <a:gd name="connsiteY156" fmla="*/ 153022 h 1333121"/>
              <a:gd name="connsiteX157" fmla="*/ 2649909 w 3469189"/>
              <a:gd name="connsiteY157" fmla="*/ 367611 h 1333121"/>
              <a:gd name="connsiteX158" fmla="*/ 2859170 w 3469189"/>
              <a:gd name="connsiteY158" fmla="*/ 579931 h 1333121"/>
              <a:gd name="connsiteX159" fmla="*/ 2465536 w 3469189"/>
              <a:gd name="connsiteY159" fmla="*/ 62325 h 1333121"/>
              <a:gd name="connsiteX160" fmla="*/ 2527374 w 3469189"/>
              <a:gd name="connsiteY160" fmla="*/ 123893 h 1333121"/>
              <a:gd name="connsiteX161" fmla="*/ 2589211 w 3469189"/>
              <a:gd name="connsiteY161" fmla="*/ 62325 h 1333121"/>
              <a:gd name="connsiteX162" fmla="*/ 2527374 w 3469189"/>
              <a:gd name="connsiteY162" fmla="*/ 0 h 1333121"/>
              <a:gd name="connsiteX163" fmla="*/ 2465536 w 3469189"/>
              <a:gd name="connsiteY163" fmla="*/ 62325 h 1333121"/>
              <a:gd name="connsiteX164" fmla="*/ 2480639 w 3469189"/>
              <a:gd name="connsiteY164" fmla="*/ 568109 h 1333121"/>
              <a:gd name="connsiteX165" fmla="*/ 2574108 w 3469189"/>
              <a:gd name="connsiteY165" fmla="*/ 568109 h 1333121"/>
              <a:gd name="connsiteX166" fmla="*/ 2574108 w 3469189"/>
              <a:gd name="connsiteY166" fmla="*/ 164938 h 1333121"/>
              <a:gd name="connsiteX167" fmla="*/ 2480639 w 3469189"/>
              <a:gd name="connsiteY167" fmla="*/ 164938 h 1333121"/>
              <a:gd name="connsiteX168" fmla="*/ 2480639 w 3469189"/>
              <a:gd name="connsiteY168" fmla="*/ 568109 h 1333121"/>
              <a:gd name="connsiteX169" fmla="*/ 2183703 w 3469189"/>
              <a:gd name="connsiteY169" fmla="*/ 568109 h 1333121"/>
              <a:gd name="connsiteX170" fmla="*/ 2278027 w 3469189"/>
              <a:gd name="connsiteY170" fmla="*/ 568109 h 1333121"/>
              <a:gd name="connsiteX171" fmla="*/ 2278027 w 3469189"/>
              <a:gd name="connsiteY171" fmla="*/ 385864 h 1333121"/>
              <a:gd name="connsiteX172" fmla="*/ 2347749 w 3469189"/>
              <a:gd name="connsiteY172" fmla="*/ 249393 h 1333121"/>
              <a:gd name="connsiteX173" fmla="*/ 2419846 w 3469189"/>
              <a:gd name="connsiteY173" fmla="*/ 243056 h 1333121"/>
              <a:gd name="connsiteX174" fmla="*/ 2419846 w 3469189"/>
              <a:gd name="connsiteY174" fmla="*/ 153116 h 1333121"/>
              <a:gd name="connsiteX175" fmla="*/ 2275653 w 3469189"/>
              <a:gd name="connsiteY175" fmla="*/ 247785 h 1333121"/>
              <a:gd name="connsiteX176" fmla="*/ 2275653 w 3469189"/>
              <a:gd name="connsiteY176" fmla="*/ 164938 h 1333121"/>
              <a:gd name="connsiteX177" fmla="*/ 2183703 w 3469189"/>
              <a:gd name="connsiteY177" fmla="*/ 164938 h 1333121"/>
              <a:gd name="connsiteX178" fmla="*/ 2183703 w 3469189"/>
              <a:gd name="connsiteY178" fmla="*/ 568109 h 1333121"/>
              <a:gd name="connsiteX179" fmla="*/ 1778195 w 3469189"/>
              <a:gd name="connsiteY179" fmla="*/ 366098 h 1333121"/>
              <a:gd name="connsiteX180" fmla="*/ 1881258 w 3469189"/>
              <a:gd name="connsiteY180" fmla="*/ 228776 h 1333121"/>
              <a:gd name="connsiteX181" fmla="*/ 1987456 w 3469189"/>
              <a:gd name="connsiteY181" fmla="*/ 366098 h 1333121"/>
              <a:gd name="connsiteX182" fmla="*/ 1881258 w 3469189"/>
              <a:gd name="connsiteY182" fmla="*/ 504933 h 1333121"/>
              <a:gd name="connsiteX183" fmla="*/ 1778195 w 3469189"/>
              <a:gd name="connsiteY183" fmla="*/ 366098 h 1333121"/>
              <a:gd name="connsiteX184" fmla="*/ 1862925 w 3469189"/>
              <a:gd name="connsiteY184" fmla="*/ 579931 h 1333121"/>
              <a:gd name="connsiteX185" fmla="*/ 1985746 w 3469189"/>
              <a:gd name="connsiteY185" fmla="*/ 517606 h 1333121"/>
              <a:gd name="connsiteX186" fmla="*/ 1985746 w 3469189"/>
              <a:gd name="connsiteY186" fmla="*/ 568109 h 1333121"/>
              <a:gd name="connsiteX187" fmla="*/ 2080830 w 3469189"/>
              <a:gd name="connsiteY187" fmla="*/ 568109 h 1333121"/>
              <a:gd name="connsiteX188" fmla="*/ 2080830 w 3469189"/>
              <a:gd name="connsiteY188" fmla="*/ 164938 h 1333121"/>
              <a:gd name="connsiteX189" fmla="*/ 1985746 w 3469189"/>
              <a:gd name="connsiteY189" fmla="*/ 164938 h 1333121"/>
              <a:gd name="connsiteX190" fmla="*/ 1985746 w 3469189"/>
              <a:gd name="connsiteY190" fmla="*/ 217048 h 1333121"/>
              <a:gd name="connsiteX191" fmla="*/ 1862925 w 3469189"/>
              <a:gd name="connsiteY191" fmla="*/ 153116 h 1333121"/>
              <a:gd name="connsiteX192" fmla="*/ 1681496 w 3469189"/>
              <a:gd name="connsiteY192" fmla="*/ 366098 h 1333121"/>
              <a:gd name="connsiteX193" fmla="*/ 1862925 w 3469189"/>
              <a:gd name="connsiteY193" fmla="*/ 579931 h 1333121"/>
              <a:gd name="connsiteX194" fmla="*/ 1398049 w 3469189"/>
              <a:gd name="connsiteY194" fmla="*/ 579931 h 1333121"/>
              <a:gd name="connsiteX195" fmla="*/ 1512131 w 3469189"/>
              <a:gd name="connsiteY195" fmla="*/ 518363 h 1333121"/>
              <a:gd name="connsiteX196" fmla="*/ 1512131 w 3469189"/>
              <a:gd name="connsiteY196" fmla="*/ 568109 h 1333121"/>
              <a:gd name="connsiteX197" fmla="*/ 1604840 w 3469189"/>
              <a:gd name="connsiteY197" fmla="*/ 568109 h 1333121"/>
              <a:gd name="connsiteX198" fmla="*/ 1604840 w 3469189"/>
              <a:gd name="connsiteY198" fmla="*/ 164938 h 1333121"/>
              <a:gd name="connsiteX199" fmla="*/ 1510516 w 3469189"/>
              <a:gd name="connsiteY199" fmla="*/ 164938 h 1333121"/>
              <a:gd name="connsiteX200" fmla="*/ 1510516 w 3469189"/>
              <a:gd name="connsiteY200" fmla="*/ 388228 h 1333121"/>
              <a:gd name="connsiteX201" fmla="*/ 1425691 w 3469189"/>
              <a:gd name="connsiteY201" fmla="*/ 502663 h 1333121"/>
              <a:gd name="connsiteX202" fmla="*/ 1357488 w 3469189"/>
              <a:gd name="connsiteY202" fmla="*/ 417452 h 1333121"/>
              <a:gd name="connsiteX203" fmla="*/ 1357488 w 3469189"/>
              <a:gd name="connsiteY203" fmla="*/ 164938 h 1333121"/>
              <a:gd name="connsiteX204" fmla="*/ 1263164 w 3469189"/>
              <a:gd name="connsiteY204" fmla="*/ 164938 h 1333121"/>
              <a:gd name="connsiteX205" fmla="*/ 1263164 w 3469189"/>
              <a:gd name="connsiteY205" fmla="*/ 431543 h 1333121"/>
              <a:gd name="connsiteX206" fmla="*/ 1398049 w 3469189"/>
              <a:gd name="connsiteY206" fmla="*/ 579931 h 1333121"/>
              <a:gd name="connsiteX207" fmla="*/ 1136734 w 3469189"/>
              <a:gd name="connsiteY207" fmla="*/ 572081 h 1333121"/>
              <a:gd name="connsiteX208" fmla="*/ 1196957 w 3469189"/>
              <a:gd name="connsiteY208" fmla="*/ 564137 h 1333121"/>
              <a:gd name="connsiteX209" fmla="*/ 1196957 w 3469189"/>
              <a:gd name="connsiteY209" fmla="*/ 495476 h 1333121"/>
              <a:gd name="connsiteX210" fmla="*/ 1162096 w 3469189"/>
              <a:gd name="connsiteY210" fmla="*/ 499448 h 1333121"/>
              <a:gd name="connsiteX211" fmla="*/ 1108237 w 3469189"/>
              <a:gd name="connsiteY211" fmla="*/ 435515 h 1333121"/>
              <a:gd name="connsiteX212" fmla="*/ 1108237 w 3469189"/>
              <a:gd name="connsiteY212" fmla="*/ 238233 h 1333121"/>
              <a:gd name="connsiteX213" fmla="*/ 1189073 w 3469189"/>
              <a:gd name="connsiteY213" fmla="*/ 238233 h 1333121"/>
              <a:gd name="connsiteX214" fmla="*/ 1189073 w 3469189"/>
              <a:gd name="connsiteY214" fmla="*/ 164843 h 1333121"/>
              <a:gd name="connsiteX215" fmla="*/ 1108237 w 3469189"/>
              <a:gd name="connsiteY215" fmla="*/ 164843 h 1333121"/>
              <a:gd name="connsiteX216" fmla="*/ 1108237 w 3469189"/>
              <a:gd name="connsiteY216" fmla="*/ 46531 h 1333121"/>
              <a:gd name="connsiteX217" fmla="*/ 1016288 w 3469189"/>
              <a:gd name="connsiteY217" fmla="*/ 46531 h 1333121"/>
              <a:gd name="connsiteX218" fmla="*/ 1016288 w 3469189"/>
              <a:gd name="connsiteY218" fmla="*/ 164843 h 1333121"/>
              <a:gd name="connsiteX219" fmla="*/ 947326 w 3469189"/>
              <a:gd name="connsiteY219" fmla="*/ 164843 h 1333121"/>
              <a:gd name="connsiteX220" fmla="*/ 947326 w 3469189"/>
              <a:gd name="connsiteY220" fmla="*/ 238233 h 1333121"/>
              <a:gd name="connsiteX221" fmla="*/ 1016288 w 3469189"/>
              <a:gd name="connsiteY221" fmla="*/ 238233 h 1333121"/>
              <a:gd name="connsiteX222" fmla="*/ 1016288 w 3469189"/>
              <a:gd name="connsiteY222" fmla="*/ 452823 h 1333121"/>
              <a:gd name="connsiteX223" fmla="*/ 1136734 w 3469189"/>
              <a:gd name="connsiteY223" fmla="*/ 572081 h 1333121"/>
              <a:gd name="connsiteX224" fmla="*/ 734360 w 3469189"/>
              <a:gd name="connsiteY224" fmla="*/ 579931 h 1333121"/>
              <a:gd name="connsiteX225" fmla="*/ 919019 w 3469189"/>
              <a:gd name="connsiteY225" fmla="*/ 441095 h 1333121"/>
              <a:gd name="connsiteX226" fmla="*/ 825550 w 3469189"/>
              <a:gd name="connsiteY226" fmla="*/ 441095 h 1333121"/>
              <a:gd name="connsiteX227" fmla="*/ 735975 w 3469189"/>
              <a:gd name="connsiteY227" fmla="*/ 502663 h 1333121"/>
              <a:gd name="connsiteX228" fmla="*/ 632152 w 3469189"/>
              <a:gd name="connsiteY228" fmla="*/ 367706 h 1333121"/>
              <a:gd name="connsiteX229" fmla="*/ 738350 w 3469189"/>
              <a:gd name="connsiteY229" fmla="*/ 231235 h 1333121"/>
              <a:gd name="connsiteX230" fmla="*/ 825550 w 3469189"/>
              <a:gd name="connsiteY230" fmla="*/ 292803 h 1333121"/>
              <a:gd name="connsiteX231" fmla="*/ 918259 w 3469189"/>
              <a:gd name="connsiteY231" fmla="*/ 292803 h 1333121"/>
              <a:gd name="connsiteX232" fmla="*/ 736735 w 3469189"/>
              <a:gd name="connsiteY232" fmla="*/ 153967 h 1333121"/>
              <a:gd name="connsiteX233" fmla="*/ 533079 w 3469189"/>
              <a:gd name="connsiteY233" fmla="*/ 367800 h 1333121"/>
              <a:gd name="connsiteX234" fmla="*/ 734360 w 3469189"/>
              <a:gd name="connsiteY234" fmla="*/ 579931 h 1333121"/>
              <a:gd name="connsiteX235" fmla="*/ 172690 w 3469189"/>
              <a:gd name="connsiteY235" fmla="*/ 370070 h 1333121"/>
              <a:gd name="connsiteX236" fmla="*/ 209926 w 3469189"/>
              <a:gd name="connsiteY236" fmla="*/ 261971 h 1333121"/>
              <a:gd name="connsiteX237" fmla="*/ 259035 w 3469189"/>
              <a:gd name="connsiteY237" fmla="*/ 119164 h 1333121"/>
              <a:gd name="connsiteX238" fmla="*/ 259795 w 3469189"/>
              <a:gd name="connsiteY238" fmla="*/ 119164 h 1333121"/>
              <a:gd name="connsiteX239" fmla="*/ 308904 w 3469189"/>
              <a:gd name="connsiteY239" fmla="*/ 261215 h 1333121"/>
              <a:gd name="connsiteX240" fmla="*/ 346140 w 3469189"/>
              <a:gd name="connsiteY240" fmla="*/ 370070 h 1333121"/>
              <a:gd name="connsiteX241" fmla="*/ 172690 w 3469189"/>
              <a:gd name="connsiteY241" fmla="*/ 370070 h 1333121"/>
              <a:gd name="connsiteX242" fmla="*/ 0 w 3469189"/>
              <a:gd name="connsiteY242" fmla="*/ 568109 h 1333121"/>
              <a:gd name="connsiteX243" fmla="*/ 103823 w 3469189"/>
              <a:gd name="connsiteY243" fmla="*/ 568109 h 1333121"/>
              <a:gd name="connsiteX244" fmla="*/ 143433 w 3469189"/>
              <a:gd name="connsiteY244" fmla="*/ 452917 h 1333121"/>
              <a:gd name="connsiteX245" fmla="*/ 374827 w 3469189"/>
              <a:gd name="connsiteY245" fmla="*/ 452917 h 1333121"/>
              <a:gd name="connsiteX246" fmla="*/ 414437 w 3469189"/>
              <a:gd name="connsiteY246" fmla="*/ 568109 h 1333121"/>
              <a:gd name="connsiteX247" fmla="*/ 520635 w 3469189"/>
              <a:gd name="connsiteY247" fmla="*/ 568109 h 1333121"/>
              <a:gd name="connsiteX248" fmla="*/ 316124 w 3469189"/>
              <a:gd name="connsiteY248" fmla="*/ 15794 h 1333121"/>
              <a:gd name="connsiteX249" fmla="*/ 206791 w 3469189"/>
              <a:gd name="connsiteY249" fmla="*/ 15794 h 1333121"/>
              <a:gd name="connsiteX250" fmla="*/ 0 w 3469189"/>
              <a:gd name="connsiteY250" fmla="*/ 568109 h 1333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3469189" h="1333121">
                <a:moveTo>
                  <a:pt x="3092178" y="1327542"/>
                </a:moveTo>
                <a:cubicBezTo>
                  <a:pt x="3125425" y="1327542"/>
                  <a:pt x="3153161" y="1300683"/>
                  <a:pt x="3153161" y="1266731"/>
                </a:cubicBezTo>
                <a:cubicBezTo>
                  <a:pt x="3153161" y="1233629"/>
                  <a:pt x="3125425" y="1206770"/>
                  <a:pt x="3092178" y="1206770"/>
                </a:cubicBezTo>
                <a:cubicBezTo>
                  <a:pt x="3058837" y="1206770"/>
                  <a:pt x="3031100" y="1233629"/>
                  <a:pt x="3031100" y="1266731"/>
                </a:cubicBezTo>
                <a:cubicBezTo>
                  <a:pt x="3031100" y="1300777"/>
                  <a:pt x="3058837" y="1327542"/>
                  <a:pt x="3092178" y="1327542"/>
                </a:cubicBezTo>
                <a:moveTo>
                  <a:pt x="2665013" y="1078244"/>
                </a:moveTo>
                <a:cubicBezTo>
                  <a:pt x="2673752" y="1021404"/>
                  <a:pt x="2717352" y="981210"/>
                  <a:pt x="2772825" y="981210"/>
                </a:cubicBezTo>
                <a:cubicBezTo>
                  <a:pt x="2833048" y="981210"/>
                  <a:pt x="2871044" y="1019891"/>
                  <a:pt x="2879783" y="1078244"/>
                </a:cubicBezTo>
                <a:lnTo>
                  <a:pt x="2665013" y="1078244"/>
                </a:lnTo>
                <a:close/>
                <a:moveTo>
                  <a:pt x="2776720" y="1333122"/>
                </a:moveTo>
                <a:cubicBezTo>
                  <a:pt x="2876553" y="1333122"/>
                  <a:pt x="2941526" y="1284983"/>
                  <a:pt x="2962993" y="1216322"/>
                </a:cubicBezTo>
                <a:lnTo>
                  <a:pt x="2863160" y="1216322"/>
                </a:lnTo>
                <a:cubicBezTo>
                  <a:pt x="2850526" y="1239966"/>
                  <a:pt x="2824309" y="1258881"/>
                  <a:pt x="2778334" y="1258881"/>
                </a:cubicBezTo>
                <a:cubicBezTo>
                  <a:pt x="2714977" y="1258881"/>
                  <a:pt x="2668147" y="1213863"/>
                  <a:pt x="2663398" y="1146810"/>
                </a:cubicBezTo>
                <a:lnTo>
                  <a:pt x="2974012" y="1146810"/>
                </a:lnTo>
                <a:cubicBezTo>
                  <a:pt x="2972397" y="993789"/>
                  <a:pt x="2891657" y="906213"/>
                  <a:pt x="2770355" y="906213"/>
                </a:cubicBezTo>
                <a:cubicBezTo>
                  <a:pt x="2660168" y="906213"/>
                  <a:pt x="2567459" y="994545"/>
                  <a:pt x="2567459" y="1120802"/>
                </a:cubicBezTo>
                <a:cubicBezTo>
                  <a:pt x="2567554" y="1247910"/>
                  <a:pt x="2647535" y="1333122"/>
                  <a:pt x="2776720" y="1333122"/>
                </a:cubicBezTo>
                <a:moveTo>
                  <a:pt x="2467721" y="1325177"/>
                </a:moveTo>
                <a:cubicBezTo>
                  <a:pt x="2489948" y="1325177"/>
                  <a:pt x="2514455" y="1322056"/>
                  <a:pt x="2527944" y="1317233"/>
                </a:cubicBezTo>
                <a:lnTo>
                  <a:pt x="2527944" y="1248572"/>
                </a:lnTo>
                <a:cubicBezTo>
                  <a:pt x="2514455" y="1250937"/>
                  <a:pt x="2502581" y="1252544"/>
                  <a:pt x="2493082" y="1252544"/>
                </a:cubicBezTo>
                <a:cubicBezTo>
                  <a:pt x="2453472" y="1252544"/>
                  <a:pt x="2439224" y="1230414"/>
                  <a:pt x="2439224" y="1188612"/>
                </a:cubicBezTo>
                <a:lnTo>
                  <a:pt x="2439224" y="991424"/>
                </a:lnTo>
                <a:lnTo>
                  <a:pt x="2520059" y="991424"/>
                </a:lnTo>
                <a:lnTo>
                  <a:pt x="2520059" y="918034"/>
                </a:lnTo>
                <a:lnTo>
                  <a:pt x="2439224" y="918034"/>
                </a:lnTo>
                <a:lnTo>
                  <a:pt x="2439224" y="799722"/>
                </a:lnTo>
                <a:lnTo>
                  <a:pt x="2347274" y="799722"/>
                </a:lnTo>
                <a:lnTo>
                  <a:pt x="2347274" y="918034"/>
                </a:lnTo>
                <a:lnTo>
                  <a:pt x="2278312" y="918034"/>
                </a:lnTo>
                <a:lnTo>
                  <a:pt x="2278312" y="991424"/>
                </a:lnTo>
                <a:lnTo>
                  <a:pt x="2347274" y="991424"/>
                </a:lnTo>
                <a:lnTo>
                  <a:pt x="2347274" y="1206014"/>
                </a:lnTo>
                <a:cubicBezTo>
                  <a:pt x="2347274" y="1295197"/>
                  <a:pt x="2401893" y="1325177"/>
                  <a:pt x="2467721" y="1325177"/>
                </a:cubicBezTo>
                <a:moveTo>
                  <a:pt x="2012058" y="1333122"/>
                </a:moveTo>
                <a:cubicBezTo>
                  <a:pt x="2065157" y="1333122"/>
                  <a:pt x="2104007" y="1311843"/>
                  <a:pt x="2126140" y="1271554"/>
                </a:cubicBezTo>
                <a:lnTo>
                  <a:pt x="2126140" y="1321300"/>
                </a:lnTo>
                <a:lnTo>
                  <a:pt x="2218849" y="1321300"/>
                </a:lnTo>
                <a:lnTo>
                  <a:pt x="2218849" y="918129"/>
                </a:lnTo>
                <a:lnTo>
                  <a:pt x="2124525" y="918129"/>
                </a:lnTo>
                <a:lnTo>
                  <a:pt x="2124525" y="1141419"/>
                </a:lnTo>
                <a:cubicBezTo>
                  <a:pt x="2124525" y="1222659"/>
                  <a:pt x="2081685" y="1255854"/>
                  <a:pt x="2039700" y="1255854"/>
                </a:cubicBezTo>
                <a:cubicBezTo>
                  <a:pt x="1992110" y="1255854"/>
                  <a:pt x="1971593" y="1224267"/>
                  <a:pt x="1971593" y="1170643"/>
                </a:cubicBezTo>
                <a:lnTo>
                  <a:pt x="1971593" y="918129"/>
                </a:lnTo>
                <a:lnTo>
                  <a:pt x="1877269" y="918129"/>
                </a:lnTo>
                <a:lnTo>
                  <a:pt x="1877269" y="1184829"/>
                </a:lnTo>
                <a:cubicBezTo>
                  <a:pt x="1877269" y="1282619"/>
                  <a:pt x="1932742" y="1333122"/>
                  <a:pt x="2012058" y="1333122"/>
                </a:cubicBezTo>
                <a:moveTo>
                  <a:pt x="1749698" y="1325177"/>
                </a:moveTo>
                <a:cubicBezTo>
                  <a:pt x="1771926" y="1325177"/>
                  <a:pt x="1796433" y="1322056"/>
                  <a:pt x="1809921" y="1317233"/>
                </a:cubicBezTo>
                <a:lnTo>
                  <a:pt x="1809921" y="1248572"/>
                </a:lnTo>
                <a:cubicBezTo>
                  <a:pt x="1796433" y="1250937"/>
                  <a:pt x="1784559" y="1252544"/>
                  <a:pt x="1775060" y="1252544"/>
                </a:cubicBezTo>
                <a:cubicBezTo>
                  <a:pt x="1735450" y="1252544"/>
                  <a:pt x="1721201" y="1230414"/>
                  <a:pt x="1721201" y="1188612"/>
                </a:cubicBezTo>
                <a:lnTo>
                  <a:pt x="1721201" y="991424"/>
                </a:lnTo>
                <a:lnTo>
                  <a:pt x="1802037" y="991424"/>
                </a:lnTo>
                <a:lnTo>
                  <a:pt x="1802037" y="918034"/>
                </a:lnTo>
                <a:lnTo>
                  <a:pt x="1721201" y="918034"/>
                </a:lnTo>
                <a:lnTo>
                  <a:pt x="1721201" y="799722"/>
                </a:lnTo>
                <a:lnTo>
                  <a:pt x="1629252" y="799722"/>
                </a:lnTo>
                <a:lnTo>
                  <a:pt x="1629252" y="918034"/>
                </a:lnTo>
                <a:lnTo>
                  <a:pt x="1560290" y="918034"/>
                </a:lnTo>
                <a:lnTo>
                  <a:pt x="1560290" y="991424"/>
                </a:lnTo>
                <a:lnTo>
                  <a:pt x="1629252" y="991424"/>
                </a:lnTo>
                <a:lnTo>
                  <a:pt x="1629252" y="1206014"/>
                </a:lnTo>
                <a:cubicBezTo>
                  <a:pt x="1629252" y="1295197"/>
                  <a:pt x="1683966" y="1325177"/>
                  <a:pt x="1749698" y="1325177"/>
                </a:cubicBezTo>
                <a:moveTo>
                  <a:pt x="1392349" y="815516"/>
                </a:moveTo>
                <a:cubicBezTo>
                  <a:pt x="1392349" y="849468"/>
                  <a:pt x="1420086" y="877084"/>
                  <a:pt x="1454187" y="877084"/>
                </a:cubicBezTo>
                <a:cubicBezTo>
                  <a:pt x="1488288" y="877084"/>
                  <a:pt x="1516025" y="849468"/>
                  <a:pt x="1516025" y="815516"/>
                </a:cubicBezTo>
                <a:cubicBezTo>
                  <a:pt x="1516025" y="780807"/>
                  <a:pt x="1488288" y="753191"/>
                  <a:pt x="1454187" y="753191"/>
                </a:cubicBezTo>
                <a:cubicBezTo>
                  <a:pt x="1420086" y="753191"/>
                  <a:pt x="1392349" y="780712"/>
                  <a:pt x="1392349" y="815516"/>
                </a:cubicBezTo>
                <a:moveTo>
                  <a:pt x="1407358" y="1321205"/>
                </a:moveTo>
                <a:lnTo>
                  <a:pt x="1500827" y="1321205"/>
                </a:lnTo>
                <a:lnTo>
                  <a:pt x="1500827" y="918034"/>
                </a:lnTo>
                <a:lnTo>
                  <a:pt x="1407358" y="918034"/>
                </a:lnTo>
                <a:lnTo>
                  <a:pt x="1407358" y="1321205"/>
                </a:lnTo>
                <a:close/>
                <a:moveTo>
                  <a:pt x="1275798" y="1325177"/>
                </a:moveTo>
                <a:cubicBezTo>
                  <a:pt x="1298025" y="1325177"/>
                  <a:pt x="1322532" y="1322056"/>
                  <a:pt x="1336021" y="1317233"/>
                </a:cubicBezTo>
                <a:lnTo>
                  <a:pt x="1336021" y="1248572"/>
                </a:lnTo>
                <a:cubicBezTo>
                  <a:pt x="1322532" y="1250937"/>
                  <a:pt x="1310659" y="1252544"/>
                  <a:pt x="1301160" y="1252544"/>
                </a:cubicBezTo>
                <a:cubicBezTo>
                  <a:pt x="1261549" y="1252544"/>
                  <a:pt x="1247301" y="1230414"/>
                  <a:pt x="1247301" y="1188612"/>
                </a:cubicBezTo>
                <a:lnTo>
                  <a:pt x="1247301" y="991424"/>
                </a:lnTo>
                <a:lnTo>
                  <a:pt x="1328137" y="991424"/>
                </a:lnTo>
                <a:lnTo>
                  <a:pt x="1328137" y="918034"/>
                </a:lnTo>
                <a:lnTo>
                  <a:pt x="1247301" y="918034"/>
                </a:lnTo>
                <a:lnTo>
                  <a:pt x="1247301" y="799722"/>
                </a:lnTo>
                <a:lnTo>
                  <a:pt x="1155352" y="799722"/>
                </a:lnTo>
                <a:lnTo>
                  <a:pt x="1155352" y="918034"/>
                </a:lnTo>
                <a:lnTo>
                  <a:pt x="1086390" y="918034"/>
                </a:lnTo>
                <a:lnTo>
                  <a:pt x="1086390" y="991424"/>
                </a:lnTo>
                <a:lnTo>
                  <a:pt x="1155352" y="991424"/>
                </a:lnTo>
                <a:lnTo>
                  <a:pt x="1155352" y="1206014"/>
                </a:lnTo>
                <a:cubicBezTo>
                  <a:pt x="1155352" y="1295197"/>
                  <a:pt x="1210065" y="1325177"/>
                  <a:pt x="1275798" y="1325177"/>
                </a:cubicBezTo>
                <a:moveTo>
                  <a:pt x="878839" y="1333122"/>
                </a:moveTo>
                <a:cubicBezTo>
                  <a:pt x="981047" y="1333122"/>
                  <a:pt x="1057988" y="1282619"/>
                  <a:pt x="1057988" y="1202136"/>
                </a:cubicBezTo>
                <a:cubicBezTo>
                  <a:pt x="1057988" y="1131962"/>
                  <a:pt x="999380" y="1100374"/>
                  <a:pt x="909805" y="1080608"/>
                </a:cubicBezTo>
                <a:lnTo>
                  <a:pt x="860696" y="1069543"/>
                </a:lnTo>
                <a:cubicBezTo>
                  <a:pt x="815481" y="1060085"/>
                  <a:pt x="796483" y="1049020"/>
                  <a:pt x="796483" y="1023012"/>
                </a:cubicBezTo>
                <a:cubicBezTo>
                  <a:pt x="796483" y="993789"/>
                  <a:pt x="825835" y="975630"/>
                  <a:pt x="866205" y="975630"/>
                </a:cubicBezTo>
                <a:cubicBezTo>
                  <a:pt x="911420" y="975630"/>
                  <a:pt x="939917" y="994545"/>
                  <a:pt x="949415" y="1026890"/>
                </a:cubicBezTo>
                <a:lnTo>
                  <a:pt x="1043740" y="1026890"/>
                </a:lnTo>
                <a:cubicBezTo>
                  <a:pt x="1034241" y="961444"/>
                  <a:pt x="974778" y="906969"/>
                  <a:pt x="867060" y="906969"/>
                </a:cubicBezTo>
                <a:cubicBezTo>
                  <a:pt x="768841" y="906969"/>
                  <a:pt x="700639" y="957472"/>
                  <a:pt x="700639" y="1028497"/>
                </a:cubicBezTo>
                <a:cubicBezTo>
                  <a:pt x="700639" y="1095551"/>
                  <a:pt x="748989" y="1129503"/>
                  <a:pt x="836948" y="1148418"/>
                </a:cubicBezTo>
                <a:lnTo>
                  <a:pt x="884538" y="1158632"/>
                </a:lnTo>
                <a:cubicBezTo>
                  <a:pt x="941626" y="1170454"/>
                  <a:pt x="962239" y="1183883"/>
                  <a:pt x="962239" y="1211499"/>
                </a:cubicBezTo>
                <a:cubicBezTo>
                  <a:pt x="962239" y="1244600"/>
                  <a:pt x="929753" y="1263610"/>
                  <a:pt x="883778" y="1263610"/>
                </a:cubicBezTo>
                <a:cubicBezTo>
                  <a:pt x="825930" y="1263610"/>
                  <a:pt x="795058" y="1235994"/>
                  <a:pt x="787934" y="1195800"/>
                </a:cubicBezTo>
                <a:lnTo>
                  <a:pt x="686486" y="1195800"/>
                </a:lnTo>
                <a:cubicBezTo>
                  <a:pt x="692565" y="1276282"/>
                  <a:pt x="761527" y="1333122"/>
                  <a:pt x="878839" y="1333122"/>
                </a:cubicBezTo>
                <a:moveTo>
                  <a:pt x="271764" y="1321205"/>
                </a:moveTo>
                <a:lnTo>
                  <a:pt x="366088" y="1321205"/>
                </a:lnTo>
                <a:lnTo>
                  <a:pt x="366088" y="1096402"/>
                </a:lnTo>
                <a:cubicBezTo>
                  <a:pt x="366088" y="1016676"/>
                  <a:pt x="410448" y="983574"/>
                  <a:pt x="457182" y="983574"/>
                </a:cubicBezTo>
                <a:cubicBezTo>
                  <a:pt x="506292" y="983574"/>
                  <a:pt x="523770" y="1016676"/>
                  <a:pt x="523770" y="1060936"/>
                </a:cubicBezTo>
                <a:lnTo>
                  <a:pt x="523770" y="1321300"/>
                </a:lnTo>
                <a:lnTo>
                  <a:pt x="618854" y="1321300"/>
                </a:lnTo>
                <a:lnTo>
                  <a:pt x="618854" y="1053087"/>
                </a:lnTo>
                <a:cubicBezTo>
                  <a:pt x="618854" y="958418"/>
                  <a:pt x="565755" y="906307"/>
                  <a:pt x="484159" y="906307"/>
                </a:cubicBezTo>
                <a:cubicBezTo>
                  <a:pt x="425551" y="906307"/>
                  <a:pt x="385086" y="936287"/>
                  <a:pt x="363713" y="970239"/>
                </a:cubicBezTo>
                <a:lnTo>
                  <a:pt x="363713" y="918129"/>
                </a:lnTo>
                <a:lnTo>
                  <a:pt x="271764" y="918129"/>
                </a:lnTo>
                <a:lnTo>
                  <a:pt x="271764" y="1321205"/>
                </a:lnTo>
                <a:lnTo>
                  <a:pt x="271764" y="1321205"/>
                </a:lnTo>
                <a:close/>
                <a:moveTo>
                  <a:pt x="65732" y="1321205"/>
                </a:moveTo>
                <a:lnTo>
                  <a:pt x="164806" y="1321205"/>
                </a:lnTo>
                <a:lnTo>
                  <a:pt x="164806" y="768890"/>
                </a:lnTo>
                <a:lnTo>
                  <a:pt x="65732" y="768890"/>
                </a:lnTo>
                <a:lnTo>
                  <a:pt x="65732" y="1321205"/>
                </a:lnTo>
                <a:lnTo>
                  <a:pt x="65732" y="1321205"/>
                </a:lnTo>
                <a:close/>
                <a:moveTo>
                  <a:pt x="3290040" y="579931"/>
                </a:moveTo>
                <a:cubicBezTo>
                  <a:pt x="3392249" y="579931"/>
                  <a:pt x="3469190" y="529428"/>
                  <a:pt x="3469190" y="448945"/>
                </a:cubicBezTo>
                <a:cubicBezTo>
                  <a:pt x="3469190" y="378771"/>
                  <a:pt x="3410582" y="347183"/>
                  <a:pt x="3321007" y="327417"/>
                </a:cubicBezTo>
                <a:lnTo>
                  <a:pt x="3271898" y="316352"/>
                </a:lnTo>
                <a:cubicBezTo>
                  <a:pt x="3226683" y="306894"/>
                  <a:pt x="3207685" y="295829"/>
                  <a:pt x="3207685" y="269821"/>
                </a:cubicBezTo>
                <a:cubicBezTo>
                  <a:pt x="3207685" y="240597"/>
                  <a:pt x="3237037" y="222534"/>
                  <a:pt x="3277407" y="222534"/>
                </a:cubicBezTo>
                <a:cubicBezTo>
                  <a:pt x="3322622" y="222534"/>
                  <a:pt x="3351119" y="241449"/>
                  <a:pt x="3360617" y="273793"/>
                </a:cubicBezTo>
                <a:lnTo>
                  <a:pt x="3454942" y="273793"/>
                </a:lnTo>
                <a:cubicBezTo>
                  <a:pt x="3445443" y="208348"/>
                  <a:pt x="3385979" y="153873"/>
                  <a:pt x="3278262" y="153873"/>
                </a:cubicBezTo>
                <a:cubicBezTo>
                  <a:pt x="3179948" y="153873"/>
                  <a:pt x="3111841" y="204375"/>
                  <a:pt x="3111841" y="275401"/>
                </a:cubicBezTo>
                <a:cubicBezTo>
                  <a:pt x="3111841" y="342454"/>
                  <a:pt x="3160191" y="376406"/>
                  <a:pt x="3248151" y="395321"/>
                </a:cubicBezTo>
                <a:lnTo>
                  <a:pt x="3295740" y="405535"/>
                </a:lnTo>
                <a:cubicBezTo>
                  <a:pt x="3352828" y="417357"/>
                  <a:pt x="3373441" y="430787"/>
                  <a:pt x="3373441" y="458402"/>
                </a:cubicBezTo>
                <a:cubicBezTo>
                  <a:pt x="3373441" y="491504"/>
                  <a:pt x="3340955" y="510513"/>
                  <a:pt x="3294980" y="510513"/>
                </a:cubicBezTo>
                <a:cubicBezTo>
                  <a:pt x="3237132" y="510513"/>
                  <a:pt x="3206260" y="482897"/>
                  <a:pt x="3199136" y="442703"/>
                </a:cubicBezTo>
                <a:lnTo>
                  <a:pt x="3097688" y="442703"/>
                </a:lnTo>
                <a:cubicBezTo>
                  <a:pt x="3103862" y="523091"/>
                  <a:pt x="3172729" y="579931"/>
                  <a:pt x="3290040" y="579931"/>
                </a:cubicBezTo>
                <a:moveTo>
                  <a:pt x="2747463" y="325052"/>
                </a:moveTo>
                <a:cubicBezTo>
                  <a:pt x="2756202" y="268213"/>
                  <a:pt x="2799802" y="228019"/>
                  <a:pt x="2855276" y="228019"/>
                </a:cubicBezTo>
                <a:cubicBezTo>
                  <a:pt x="2915499" y="228019"/>
                  <a:pt x="2953494" y="266700"/>
                  <a:pt x="2962233" y="325052"/>
                </a:cubicBezTo>
                <a:lnTo>
                  <a:pt x="2747463" y="325052"/>
                </a:lnTo>
                <a:close/>
                <a:moveTo>
                  <a:pt x="2859170" y="579931"/>
                </a:moveTo>
                <a:cubicBezTo>
                  <a:pt x="2959004" y="579931"/>
                  <a:pt x="3023976" y="531792"/>
                  <a:pt x="3045444" y="463131"/>
                </a:cubicBezTo>
                <a:lnTo>
                  <a:pt x="2945610" y="463131"/>
                </a:lnTo>
                <a:cubicBezTo>
                  <a:pt x="2932977" y="486775"/>
                  <a:pt x="2906760" y="505690"/>
                  <a:pt x="2860785" y="505690"/>
                </a:cubicBezTo>
                <a:cubicBezTo>
                  <a:pt x="2797427" y="505690"/>
                  <a:pt x="2750598" y="460672"/>
                  <a:pt x="2745848" y="393619"/>
                </a:cubicBezTo>
                <a:lnTo>
                  <a:pt x="3056462" y="393619"/>
                </a:lnTo>
                <a:cubicBezTo>
                  <a:pt x="3054848" y="240597"/>
                  <a:pt x="2974012" y="153022"/>
                  <a:pt x="2852806" y="153022"/>
                </a:cubicBezTo>
                <a:cubicBezTo>
                  <a:pt x="2742619" y="153022"/>
                  <a:pt x="2649909" y="241354"/>
                  <a:pt x="2649909" y="367611"/>
                </a:cubicBezTo>
                <a:cubicBezTo>
                  <a:pt x="2650004" y="494719"/>
                  <a:pt x="2729985" y="579931"/>
                  <a:pt x="2859170" y="579931"/>
                </a:cubicBezTo>
                <a:moveTo>
                  <a:pt x="2465536" y="62325"/>
                </a:moveTo>
                <a:cubicBezTo>
                  <a:pt x="2465536" y="96277"/>
                  <a:pt x="2493273" y="123893"/>
                  <a:pt x="2527374" y="123893"/>
                </a:cubicBezTo>
                <a:cubicBezTo>
                  <a:pt x="2561475" y="123893"/>
                  <a:pt x="2589211" y="96277"/>
                  <a:pt x="2589211" y="62325"/>
                </a:cubicBezTo>
                <a:cubicBezTo>
                  <a:pt x="2589211" y="27616"/>
                  <a:pt x="2561475" y="0"/>
                  <a:pt x="2527374" y="0"/>
                </a:cubicBezTo>
                <a:cubicBezTo>
                  <a:pt x="2493273" y="0"/>
                  <a:pt x="2465536" y="27616"/>
                  <a:pt x="2465536" y="62325"/>
                </a:cubicBezTo>
                <a:moveTo>
                  <a:pt x="2480639" y="568109"/>
                </a:moveTo>
                <a:lnTo>
                  <a:pt x="2574108" y="568109"/>
                </a:lnTo>
                <a:lnTo>
                  <a:pt x="2574108" y="164938"/>
                </a:lnTo>
                <a:lnTo>
                  <a:pt x="2480639" y="164938"/>
                </a:lnTo>
                <a:lnTo>
                  <a:pt x="2480639" y="568109"/>
                </a:lnTo>
                <a:close/>
                <a:moveTo>
                  <a:pt x="2183703" y="568109"/>
                </a:moveTo>
                <a:lnTo>
                  <a:pt x="2278027" y="568109"/>
                </a:lnTo>
                <a:lnTo>
                  <a:pt x="2278027" y="385864"/>
                </a:lnTo>
                <a:cubicBezTo>
                  <a:pt x="2278027" y="314082"/>
                  <a:pt x="2298640" y="266700"/>
                  <a:pt x="2347749" y="249393"/>
                </a:cubicBezTo>
                <a:cubicBezTo>
                  <a:pt x="2367602" y="242300"/>
                  <a:pt x="2391349" y="240692"/>
                  <a:pt x="2419846" y="243056"/>
                </a:cubicBezTo>
                <a:lnTo>
                  <a:pt x="2419846" y="153116"/>
                </a:lnTo>
                <a:cubicBezTo>
                  <a:pt x="2349269" y="149144"/>
                  <a:pt x="2301775" y="176003"/>
                  <a:pt x="2275653" y="247785"/>
                </a:cubicBezTo>
                <a:lnTo>
                  <a:pt x="2275653" y="164938"/>
                </a:lnTo>
                <a:lnTo>
                  <a:pt x="2183703" y="164938"/>
                </a:lnTo>
                <a:lnTo>
                  <a:pt x="2183703" y="568109"/>
                </a:lnTo>
                <a:close/>
                <a:moveTo>
                  <a:pt x="1778195" y="366098"/>
                </a:moveTo>
                <a:cubicBezTo>
                  <a:pt x="1778195" y="282494"/>
                  <a:pt x="1814671" y="228776"/>
                  <a:pt x="1881258" y="228776"/>
                </a:cubicBezTo>
                <a:cubicBezTo>
                  <a:pt x="1943856" y="228776"/>
                  <a:pt x="1987456" y="286372"/>
                  <a:pt x="1987456" y="366098"/>
                </a:cubicBezTo>
                <a:cubicBezTo>
                  <a:pt x="1987456" y="446581"/>
                  <a:pt x="1943856" y="504933"/>
                  <a:pt x="1881258" y="504933"/>
                </a:cubicBezTo>
                <a:cubicBezTo>
                  <a:pt x="1814576" y="504933"/>
                  <a:pt x="1778195" y="450553"/>
                  <a:pt x="1778195" y="366098"/>
                </a:cubicBezTo>
                <a:moveTo>
                  <a:pt x="1862925" y="579931"/>
                </a:moveTo>
                <a:cubicBezTo>
                  <a:pt x="1921533" y="579931"/>
                  <a:pt x="1964373" y="553923"/>
                  <a:pt x="1985746" y="517606"/>
                </a:cubicBezTo>
                <a:lnTo>
                  <a:pt x="1985746" y="568109"/>
                </a:lnTo>
                <a:lnTo>
                  <a:pt x="2080830" y="568109"/>
                </a:lnTo>
                <a:lnTo>
                  <a:pt x="2080830" y="164938"/>
                </a:lnTo>
                <a:lnTo>
                  <a:pt x="1985746" y="164938"/>
                </a:lnTo>
                <a:lnTo>
                  <a:pt x="1985746" y="217048"/>
                </a:lnTo>
                <a:cubicBezTo>
                  <a:pt x="1964373" y="180732"/>
                  <a:pt x="1921533" y="153116"/>
                  <a:pt x="1862925" y="153116"/>
                </a:cubicBezTo>
                <a:cubicBezTo>
                  <a:pt x="1759862" y="153116"/>
                  <a:pt x="1681496" y="233599"/>
                  <a:pt x="1681496" y="366098"/>
                </a:cubicBezTo>
                <a:cubicBezTo>
                  <a:pt x="1681496" y="498597"/>
                  <a:pt x="1759957" y="579931"/>
                  <a:pt x="1862925" y="579931"/>
                </a:cubicBezTo>
                <a:moveTo>
                  <a:pt x="1398049" y="579931"/>
                </a:moveTo>
                <a:cubicBezTo>
                  <a:pt x="1451148" y="579931"/>
                  <a:pt x="1489998" y="558651"/>
                  <a:pt x="1512131" y="518363"/>
                </a:cubicBezTo>
                <a:lnTo>
                  <a:pt x="1512131" y="568109"/>
                </a:lnTo>
                <a:lnTo>
                  <a:pt x="1604840" y="568109"/>
                </a:lnTo>
                <a:lnTo>
                  <a:pt x="1604840" y="164938"/>
                </a:lnTo>
                <a:lnTo>
                  <a:pt x="1510516" y="164938"/>
                </a:lnTo>
                <a:lnTo>
                  <a:pt x="1510516" y="388228"/>
                </a:lnTo>
                <a:cubicBezTo>
                  <a:pt x="1510516" y="469468"/>
                  <a:pt x="1467771" y="502663"/>
                  <a:pt x="1425691" y="502663"/>
                </a:cubicBezTo>
                <a:cubicBezTo>
                  <a:pt x="1378101" y="502663"/>
                  <a:pt x="1357488" y="471075"/>
                  <a:pt x="1357488" y="417452"/>
                </a:cubicBezTo>
                <a:lnTo>
                  <a:pt x="1357488" y="164938"/>
                </a:lnTo>
                <a:lnTo>
                  <a:pt x="1263164" y="164938"/>
                </a:lnTo>
                <a:lnTo>
                  <a:pt x="1263164" y="431543"/>
                </a:lnTo>
                <a:cubicBezTo>
                  <a:pt x="1263259" y="529428"/>
                  <a:pt x="1318733" y="579931"/>
                  <a:pt x="1398049" y="579931"/>
                </a:cubicBezTo>
                <a:moveTo>
                  <a:pt x="1136734" y="572081"/>
                </a:moveTo>
                <a:cubicBezTo>
                  <a:pt x="1158961" y="572081"/>
                  <a:pt x="1183468" y="568960"/>
                  <a:pt x="1196957" y="564137"/>
                </a:cubicBezTo>
                <a:lnTo>
                  <a:pt x="1196957" y="495476"/>
                </a:lnTo>
                <a:cubicBezTo>
                  <a:pt x="1183468" y="497840"/>
                  <a:pt x="1171595" y="499448"/>
                  <a:pt x="1162096" y="499448"/>
                </a:cubicBezTo>
                <a:cubicBezTo>
                  <a:pt x="1122486" y="499448"/>
                  <a:pt x="1108237" y="477412"/>
                  <a:pt x="1108237" y="435515"/>
                </a:cubicBezTo>
                <a:lnTo>
                  <a:pt x="1108237" y="238233"/>
                </a:lnTo>
                <a:lnTo>
                  <a:pt x="1189073" y="238233"/>
                </a:lnTo>
                <a:lnTo>
                  <a:pt x="1189073" y="164843"/>
                </a:lnTo>
                <a:lnTo>
                  <a:pt x="1108237" y="164843"/>
                </a:lnTo>
                <a:lnTo>
                  <a:pt x="1108237" y="46531"/>
                </a:lnTo>
                <a:lnTo>
                  <a:pt x="1016288" y="46531"/>
                </a:lnTo>
                <a:lnTo>
                  <a:pt x="1016288" y="164843"/>
                </a:lnTo>
                <a:lnTo>
                  <a:pt x="947326" y="164843"/>
                </a:lnTo>
                <a:lnTo>
                  <a:pt x="947326" y="238233"/>
                </a:lnTo>
                <a:lnTo>
                  <a:pt x="1016288" y="238233"/>
                </a:lnTo>
                <a:lnTo>
                  <a:pt x="1016288" y="452823"/>
                </a:lnTo>
                <a:cubicBezTo>
                  <a:pt x="1016288" y="542101"/>
                  <a:pt x="1070906" y="572081"/>
                  <a:pt x="1136734" y="572081"/>
                </a:cubicBezTo>
                <a:moveTo>
                  <a:pt x="734360" y="579931"/>
                </a:moveTo>
                <a:cubicBezTo>
                  <a:pt x="840558" y="579931"/>
                  <a:pt x="907905" y="515998"/>
                  <a:pt x="919019" y="441095"/>
                </a:cubicBezTo>
                <a:lnTo>
                  <a:pt x="825550" y="441095"/>
                </a:lnTo>
                <a:cubicBezTo>
                  <a:pt x="812821" y="476561"/>
                  <a:pt x="785939" y="502663"/>
                  <a:pt x="735975" y="502663"/>
                </a:cubicBezTo>
                <a:cubicBezTo>
                  <a:pt x="678127" y="502663"/>
                  <a:pt x="632152" y="456133"/>
                  <a:pt x="632152" y="367706"/>
                </a:cubicBezTo>
                <a:cubicBezTo>
                  <a:pt x="632152" y="278522"/>
                  <a:pt x="677367" y="231235"/>
                  <a:pt x="738350" y="231235"/>
                </a:cubicBezTo>
                <a:cubicBezTo>
                  <a:pt x="784325" y="231235"/>
                  <a:pt x="812821" y="256486"/>
                  <a:pt x="825550" y="292803"/>
                </a:cubicBezTo>
                <a:lnTo>
                  <a:pt x="918259" y="292803"/>
                </a:lnTo>
                <a:cubicBezTo>
                  <a:pt x="907145" y="217048"/>
                  <a:pt x="842173" y="153967"/>
                  <a:pt x="736735" y="153967"/>
                </a:cubicBezTo>
                <a:cubicBezTo>
                  <a:pt x="620278" y="153967"/>
                  <a:pt x="533079" y="237571"/>
                  <a:pt x="533079" y="367800"/>
                </a:cubicBezTo>
                <a:cubicBezTo>
                  <a:pt x="533079" y="499448"/>
                  <a:pt x="618664" y="579931"/>
                  <a:pt x="734360" y="579931"/>
                </a:cubicBezTo>
                <a:moveTo>
                  <a:pt x="172690" y="370070"/>
                </a:moveTo>
                <a:lnTo>
                  <a:pt x="209926" y="261971"/>
                </a:lnTo>
                <a:cubicBezTo>
                  <a:pt x="225789" y="220926"/>
                  <a:pt x="240797" y="174395"/>
                  <a:pt x="259035" y="119164"/>
                </a:cubicBezTo>
                <a:lnTo>
                  <a:pt x="259795" y="119164"/>
                </a:lnTo>
                <a:cubicBezTo>
                  <a:pt x="278793" y="174395"/>
                  <a:pt x="294656" y="221777"/>
                  <a:pt x="308904" y="261215"/>
                </a:cubicBezTo>
                <a:lnTo>
                  <a:pt x="346140" y="370070"/>
                </a:lnTo>
                <a:lnTo>
                  <a:pt x="172690" y="370070"/>
                </a:lnTo>
                <a:close/>
                <a:moveTo>
                  <a:pt x="0" y="568109"/>
                </a:moveTo>
                <a:lnTo>
                  <a:pt x="103823" y="568109"/>
                </a:lnTo>
                <a:lnTo>
                  <a:pt x="143433" y="452917"/>
                </a:lnTo>
                <a:lnTo>
                  <a:pt x="374827" y="452917"/>
                </a:lnTo>
                <a:lnTo>
                  <a:pt x="414437" y="568109"/>
                </a:lnTo>
                <a:lnTo>
                  <a:pt x="520635" y="568109"/>
                </a:lnTo>
                <a:lnTo>
                  <a:pt x="316124" y="15794"/>
                </a:lnTo>
                <a:lnTo>
                  <a:pt x="206791" y="15794"/>
                </a:lnTo>
                <a:lnTo>
                  <a:pt x="0" y="568109"/>
                </a:lnTo>
                <a:close/>
              </a:path>
            </a:pathLst>
          </a:custGeom>
          <a:solidFill>
            <a:schemeClr val="bg1"/>
          </a:solidFill>
          <a:ln w="9499" cap="flat">
            <a:noFill/>
            <a:prstDash val="solid"/>
            <a:miter/>
          </a:ln>
        </p:spPr>
        <p:txBody>
          <a:bodyPr rtlCol="0" anchor="ctr"/>
          <a:lstStyle/>
          <a:p>
            <a:endParaRPr lang="en-US"/>
          </a:p>
        </p:txBody>
      </p:sp>
      <p:sp>
        <p:nvSpPr>
          <p:cNvPr id="21" name="Picture Placeholder 20">
            <a:extLst>
              <a:ext uri="{FF2B5EF4-FFF2-40B4-BE49-F238E27FC236}">
                <a16:creationId xmlns:a16="http://schemas.microsoft.com/office/drawing/2014/main" id="{EB1CCA5B-9CF3-3D9F-2FAF-8ADCA0DD54D0}"/>
              </a:ext>
            </a:extLst>
          </p:cNvPr>
          <p:cNvSpPr>
            <a:spLocks noGrp="1"/>
          </p:cNvSpPr>
          <p:nvPr>
            <p:ph type="pic" sz="quarter" idx="10"/>
          </p:nvPr>
        </p:nvSpPr>
        <p:spPr>
          <a:xfrm>
            <a:off x="7389936" y="2057498"/>
            <a:ext cx="3704784" cy="3705082"/>
          </a:xfrm>
          <a:custGeom>
            <a:avLst/>
            <a:gdLst>
              <a:gd name="connsiteX0" fmla="*/ 1517053 w 3034108"/>
              <a:gd name="connsiteY0" fmla="*/ 0 h 3034353"/>
              <a:gd name="connsiteX1" fmla="*/ 3034108 w 3034108"/>
              <a:gd name="connsiteY1" fmla="*/ 1517053 h 3034353"/>
              <a:gd name="connsiteX2" fmla="*/ 1517053 w 3034108"/>
              <a:gd name="connsiteY2" fmla="*/ 3034353 h 3034353"/>
              <a:gd name="connsiteX3" fmla="*/ 0 w 3034108"/>
              <a:gd name="connsiteY3" fmla="*/ 1517053 h 3034353"/>
              <a:gd name="connsiteX4" fmla="*/ 1517053 w 3034108"/>
              <a:gd name="connsiteY4" fmla="*/ 0 h 30343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4108" h="3034353">
                <a:moveTo>
                  <a:pt x="1517053" y="0"/>
                </a:moveTo>
                <a:cubicBezTo>
                  <a:pt x="2354917" y="0"/>
                  <a:pt x="3034108" y="679191"/>
                  <a:pt x="3034108" y="1517053"/>
                </a:cubicBezTo>
                <a:cubicBezTo>
                  <a:pt x="3034108" y="2355161"/>
                  <a:pt x="2354917" y="3034353"/>
                  <a:pt x="1517053" y="3034353"/>
                </a:cubicBezTo>
                <a:cubicBezTo>
                  <a:pt x="679191" y="3034353"/>
                  <a:pt x="0" y="2355161"/>
                  <a:pt x="0" y="1517053"/>
                </a:cubicBezTo>
                <a:cubicBezTo>
                  <a:pt x="0" y="679191"/>
                  <a:pt x="679191" y="0"/>
                  <a:pt x="1517053" y="0"/>
                </a:cubicBezTo>
                <a:close/>
              </a:path>
            </a:pathLst>
          </a:custGeom>
          <a:solidFill>
            <a:schemeClr val="accent1"/>
          </a:solidFill>
        </p:spPr>
        <p:txBody>
          <a:bodyPr wrap="square" anchor="ctr" anchorCtr="0">
            <a:noAutofit/>
          </a:bodyPr>
          <a:lstStyle>
            <a:lvl1pPr algn="ctr">
              <a:defRPr sz="1000">
                <a:solidFill>
                  <a:schemeClr val="bg1"/>
                </a:solidFill>
              </a:defRPr>
            </a:lvl1pPr>
          </a:lstStyle>
          <a:p>
            <a:endParaRPr lang="en-US"/>
          </a:p>
        </p:txBody>
      </p:sp>
      <p:sp>
        <p:nvSpPr>
          <p:cNvPr id="3" name="Footer Placeholder 4">
            <a:extLst>
              <a:ext uri="{FF2B5EF4-FFF2-40B4-BE49-F238E27FC236}">
                <a16:creationId xmlns:a16="http://schemas.microsoft.com/office/drawing/2014/main" id="{F4C3B3E4-F5E6-D500-4ECE-A675832895B9}"/>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t>Presented at the 2025 All Actuaries Summit</a:t>
            </a:r>
          </a:p>
        </p:txBody>
      </p:sp>
    </p:spTree>
    <p:extLst>
      <p:ext uri="{BB962C8B-B14F-4D97-AF65-F5344CB8AC3E}">
        <p14:creationId xmlns:p14="http://schemas.microsoft.com/office/powerpoint/2010/main" val="391195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4957E79-DEA8-79CD-9E4E-5D2FE921BB11}"/>
              </a:ext>
            </a:extLst>
          </p:cNvPr>
          <p:cNvSpPr>
            <a:spLocks noGrp="1"/>
          </p:cNvSpPr>
          <p:nvPr>
            <p:ph type="title"/>
          </p:nvPr>
        </p:nvSpPr>
        <p:spPr>
          <a:xfrm>
            <a:off x="326848" y="288390"/>
            <a:ext cx="11554001" cy="101607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2EAF8F9D-C689-B18D-09AF-9B4C40550649}"/>
              </a:ext>
            </a:extLst>
          </p:cNvPr>
          <p:cNvSpPr>
            <a:spLocks noGrp="1"/>
          </p:cNvSpPr>
          <p:nvPr>
            <p:ph type="body" idx="1"/>
          </p:nvPr>
        </p:nvSpPr>
        <p:spPr>
          <a:xfrm>
            <a:off x="352424" y="1493113"/>
            <a:ext cx="11528425" cy="4351338"/>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03030489-BEFE-3F81-C3A1-A8FAC2B087EE}"/>
              </a:ext>
            </a:extLst>
          </p:cNvPr>
          <p:cNvSpPr>
            <a:spLocks noGrp="1"/>
          </p:cNvSpPr>
          <p:nvPr>
            <p:ph type="dt" sz="half" idx="2"/>
          </p:nvPr>
        </p:nvSpPr>
        <p:spPr>
          <a:xfrm>
            <a:off x="9150438" y="298318"/>
            <a:ext cx="2743200" cy="365125"/>
          </a:xfrm>
          <a:prstGeom prst="rect">
            <a:avLst/>
          </a:prstGeom>
        </p:spPr>
        <p:txBody>
          <a:bodyPr vert="horz" lIns="0" tIns="0" rIns="0" bIns="0" rtlCol="0" anchor="t" anchorCtr="0">
            <a:noAutofit/>
          </a:bodyPr>
          <a:lstStyle>
            <a:lvl1pPr algn="r">
              <a:defRPr sz="1000">
                <a:solidFill>
                  <a:schemeClr val="tx2"/>
                </a:solidFill>
              </a:defRPr>
            </a:lvl1pPr>
          </a:lstStyle>
          <a:p>
            <a:endParaRPr lang="en-GB" dirty="0"/>
          </a:p>
        </p:txBody>
      </p:sp>
      <p:sp>
        <p:nvSpPr>
          <p:cNvPr id="6" name="Slide Number Placeholder 5">
            <a:extLst>
              <a:ext uri="{FF2B5EF4-FFF2-40B4-BE49-F238E27FC236}">
                <a16:creationId xmlns:a16="http://schemas.microsoft.com/office/drawing/2014/main" id="{7D749530-956E-B9F1-B7EE-49FFED17FEA9}"/>
              </a:ext>
            </a:extLst>
          </p:cNvPr>
          <p:cNvSpPr>
            <a:spLocks noGrp="1"/>
          </p:cNvSpPr>
          <p:nvPr>
            <p:ph type="sldNum" sz="quarter" idx="4"/>
          </p:nvPr>
        </p:nvSpPr>
        <p:spPr>
          <a:xfrm>
            <a:off x="11467577" y="6400800"/>
            <a:ext cx="416447" cy="186484"/>
          </a:xfrm>
          <a:prstGeom prst="rect">
            <a:avLst/>
          </a:prstGeom>
        </p:spPr>
        <p:txBody>
          <a:bodyPr vert="horz" lIns="0" tIns="0" rIns="0" bIns="0" rtlCol="0" anchor="b" anchorCtr="0">
            <a:noAutofit/>
          </a:bodyPr>
          <a:lstStyle>
            <a:lvl1pPr algn="r">
              <a:defRPr sz="1000" b="0" i="0">
                <a:solidFill>
                  <a:schemeClr val="tx2"/>
                </a:solidFill>
                <a:latin typeface="ABC Oracle Medium" panose="020B0504040202060203" pitchFamily="34" charset="77"/>
              </a:defRPr>
            </a:lvl1pPr>
          </a:lstStyle>
          <a:p>
            <a:fld id="{741AFF56-1126-4107-9C02-BC0EFBF16431}" type="slidenum">
              <a:rPr lang="en-GB" smtClean="0"/>
              <a:pPr/>
              <a:t>‹#›</a:t>
            </a:fld>
            <a:endParaRPr lang="en-GB" dirty="0"/>
          </a:p>
        </p:txBody>
      </p:sp>
      <p:sp>
        <p:nvSpPr>
          <p:cNvPr id="7" name="Footer Placeholder 6">
            <a:extLst>
              <a:ext uri="{FF2B5EF4-FFF2-40B4-BE49-F238E27FC236}">
                <a16:creationId xmlns:a16="http://schemas.microsoft.com/office/drawing/2014/main" id="{B027F68E-C428-A4D9-BBBD-028E82BC8E4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GB" dirty="0"/>
              <a:t>Presented at the 2025 All Actuaries Summit</a:t>
            </a:r>
          </a:p>
        </p:txBody>
      </p:sp>
    </p:spTree>
    <p:extLst>
      <p:ext uri="{BB962C8B-B14F-4D97-AF65-F5344CB8AC3E}">
        <p14:creationId xmlns:p14="http://schemas.microsoft.com/office/powerpoint/2010/main" val="2528825846"/>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68" r:id="rId3"/>
    <p:sldLayoutId id="2147483664" r:id="rId4"/>
    <p:sldLayoutId id="2147483665" r:id="rId5"/>
    <p:sldLayoutId id="2147483650" r:id="rId6"/>
    <p:sldLayoutId id="2147483654" r:id="rId7"/>
    <p:sldLayoutId id="2147483666" r:id="rId8"/>
    <p:sldLayoutId id="2147483653" r:id="rId9"/>
    <p:sldLayoutId id="2147483655" r:id="rId10"/>
    <p:sldLayoutId id="2147483652" r:id="rId11"/>
    <p:sldLayoutId id="2147483656" r:id="rId12"/>
    <p:sldLayoutId id="2147483657" r:id="rId13"/>
    <p:sldLayoutId id="2147483658" r:id="rId14"/>
    <p:sldLayoutId id="2147483659" r:id="rId15"/>
    <p:sldLayoutId id="2147483660" r:id="rId16"/>
    <p:sldLayoutId id="2147483661" r:id="rId17"/>
    <p:sldLayoutId id="2147483662" r:id="rId18"/>
    <p:sldLayoutId id="2147483667" r:id="rId19"/>
    <p:sldLayoutId id="2147483663" r:id="rId20"/>
    <p:sldLayoutId id="2147483669" r:id="rId21"/>
  </p:sldLayoutIdLst>
  <p:hf hdr="0" ftr="0" dt="0"/>
  <p:txStyles>
    <p:titleStyle>
      <a:lvl1pPr algn="l" defTabSz="91440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800"/>
        </a:spcBef>
        <a:spcAft>
          <a:spcPts val="600"/>
        </a:spcAft>
        <a:buFont typeface="Arial" panose="020B0604020202020204" pitchFamily="34" charset="0"/>
        <a:buNone/>
        <a:defRPr sz="1400" kern="1200">
          <a:solidFill>
            <a:schemeClr val="accent3"/>
          </a:solidFill>
          <a:latin typeface="+mn-lt"/>
          <a:ea typeface="+mn-ea"/>
          <a:cs typeface="+mn-cs"/>
        </a:defRPr>
      </a:lvl1pPr>
      <a:lvl2pPr marL="4762" indent="0" algn="l" defTabSz="914400" rtl="0" eaLnBrk="1" latinLnBrk="0" hangingPunct="1">
        <a:lnSpc>
          <a:spcPct val="100000"/>
        </a:lnSpc>
        <a:spcBef>
          <a:spcPts val="0"/>
        </a:spcBef>
        <a:buFont typeface="Arial" panose="020B0604020202020204" pitchFamily="34" charset="0"/>
        <a:buNone/>
        <a:tabLst/>
        <a:defRPr sz="1400" kern="1200">
          <a:solidFill>
            <a:schemeClr val="accent3"/>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200" userDrawn="1">
          <p15:clr>
            <a:srgbClr val="F26B43"/>
          </p15:clr>
        </p15:guide>
        <p15:guide id="4" pos="222" userDrawn="1">
          <p15:clr>
            <a:srgbClr val="F26B43"/>
          </p15:clr>
        </p15:guide>
        <p15:guide id="5" orient="horz" pos="4125" userDrawn="1">
          <p15:clr>
            <a:srgbClr val="F26B43"/>
          </p15:clr>
        </p15:guide>
        <p15:guide id="6" pos="7484" userDrawn="1">
          <p15:clr>
            <a:srgbClr val="F26B43"/>
          </p15:clr>
        </p15:guide>
        <p15:guide id="7" orient="horz" pos="958" userDrawn="1">
          <p15:clr>
            <a:srgbClr val="F26B43"/>
          </p15:clr>
        </p15:guide>
        <p15:guide id="8" pos="1269" userDrawn="1">
          <p15:clr>
            <a:srgbClr val="F26B43"/>
          </p15:clr>
        </p15:guide>
        <p15:guide id="9" pos="329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67.svg"/><Relationship Id="rId13" Type="http://schemas.openxmlformats.org/officeDocument/2006/relationships/image" Target="../media/image72.png"/><Relationship Id="rId18" Type="http://schemas.openxmlformats.org/officeDocument/2006/relationships/image" Target="../media/image77.svg"/><Relationship Id="rId26" Type="http://schemas.openxmlformats.org/officeDocument/2006/relationships/image" Target="../media/image81.svg"/><Relationship Id="rId3" Type="http://schemas.openxmlformats.org/officeDocument/2006/relationships/image" Target="../media/image62.png"/><Relationship Id="rId21" Type="http://schemas.openxmlformats.org/officeDocument/2006/relationships/chart" Target="../charts/chart5.xml"/><Relationship Id="rId7" Type="http://schemas.openxmlformats.org/officeDocument/2006/relationships/image" Target="../media/image66.png"/><Relationship Id="rId12" Type="http://schemas.openxmlformats.org/officeDocument/2006/relationships/image" Target="../media/image71.svg"/><Relationship Id="rId17" Type="http://schemas.openxmlformats.org/officeDocument/2006/relationships/image" Target="../media/image76.png"/><Relationship Id="rId25" Type="http://schemas.openxmlformats.org/officeDocument/2006/relationships/image" Target="../media/image80.png"/><Relationship Id="rId2" Type="http://schemas.openxmlformats.org/officeDocument/2006/relationships/notesSlide" Target="../notesSlides/notesSlide10.xml"/><Relationship Id="rId16" Type="http://schemas.openxmlformats.org/officeDocument/2006/relationships/image" Target="../media/image75.svg"/><Relationship Id="rId20" Type="http://schemas.openxmlformats.org/officeDocument/2006/relationships/image" Target="../media/image79.png"/><Relationship Id="rId29" Type="http://schemas.openxmlformats.org/officeDocument/2006/relationships/image" Target="../media/image10.png"/><Relationship Id="rId1" Type="http://schemas.openxmlformats.org/officeDocument/2006/relationships/slideLayout" Target="../slideLayouts/slideLayout21.xml"/><Relationship Id="rId6" Type="http://schemas.openxmlformats.org/officeDocument/2006/relationships/image" Target="../media/image65.svg"/><Relationship Id="rId11" Type="http://schemas.openxmlformats.org/officeDocument/2006/relationships/image" Target="../media/image70.png"/><Relationship Id="rId24" Type="http://schemas.openxmlformats.org/officeDocument/2006/relationships/image" Target="../media/image38.svg"/><Relationship Id="rId5" Type="http://schemas.openxmlformats.org/officeDocument/2006/relationships/image" Target="../media/image64.png"/><Relationship Id="rId15" Type="http://schemas.openxmlformats.org/officeDocument/2006/relationships/image" Target="../media/image74.png"/><Relationship Id="rId23" Type="http://schemas.openxmlformats.org/officeDocument/2006/relationships/image" Target="../media/image37.png"/><Relationship Id="rId28" Type="http://schemas.openxmlformats.org/officeDocument/2006/relationships/image" Target="../media/image83.svg"/><Relationship Id="rId10" Type="http://schemas.openxmlformats.org/officeDocument/2006/relationships/image" Target="../media/image69.png"/><Relationship Id="rId19" Type="http://schemas.openxmlformats.org/officeDocument/2006/relationships/image" Target="../media/image78.png"/><Relationship Id="rId31" Type="http://schemas.openxmlformats.org/officeDocument/2006/relationships/image" Target="../media/image85.svg"/><Relationship Id="rId4" Type="http://schemas.openxmlformats.org/officeDocument/2006/relationships/image" Target="../media/image63.svg"/><Relationship Id="rId9" Type="http://schemas.openxmlformats.org/officeDocument/2006/relationships/image" Target="../media/image68.png"/><Relationship Id="rId14" Type="http://schemas.openxmlformats.org/officeDocument/2006/relationships/image" Target="../media/image73.svg"/><Relationship Id="rId22" Type="http://schemas.openxmlformats.org/officeDocument/2006/relationships/chart" Target="../charts/chart6.xml"/><Relationship Id="rId27" Type="http://schemas.openxmlformats.org/officeDocument/2006/relationships/image" Target="../media/image82.png"/><Relationship Id="rId30" Type="http://schemas.openxmlformats.org/officeDocument/2006/relationships/image" Target="../media/image84.png"/></Relationships>
</file>

<file path=ppt/slides/_rels/slide1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21.xml"/><Relationship Id="rId5" Type="http://schemas.openxmlformats.org/officeDocument/2006/relationships/image" Target="../media/image24.sv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0.png"/><Relationship Id="rId7"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slides/_rels/slide8.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7.png"/><Relationship Id="rId18" Type="http://schemas.openxmlformats.org/officeDocument/2006/relationships/image" Target="../media/image42.svg"/><Relationship Id="rId3" Type="http://schemas.openxmlformats.org/officeDocument/2006/relationships/image" Target="../media/image29.png"/><Relationship Id="rId21" Type="http://schemas.openxmlformats.org/officeDocument/2006/relationships/image" Target="../media/image45.png"/><Relationship Id="rId7" Type="http://schemas.openxmlformats.org/officeDocument/2006/relationships/image" Target="../media/image33.png"/><Relationship Id="rId12" Type="http://schemas.openxmlformats.org/officeDocument/2006/relationships/image" Target="../media/image10.png"/><Relationship Id="rId17" Type="http://schemas.openxmlformats.org/officeDocument/2006/relationships/image" Target="../media/image41.png"/><Relationship Id="rId2" Type="http://schemas.openxmlformats.org/officeDocument/2006/relationships/notesSlide" Target="../notesSlides/notesSlide8.xml"/><Relationship Id="rId16" Type="http://schemas.openxmlformats.org/officeDocument/2006/relationships/image" Target="../media/image40.svg"/><Relationship Id="rId20" Type="http://schemas.openxmlformats.org/officeDocument/2006/relationships/image" Target="../media/image44.svg"/><Relationship Id="rId1" Type="http://schemas.openxmlformats.org/officeDocument/2006/relationships/slideLayout" Target="../slideLayouts/slideLayout21.xml"/><Relationship Id="rId6" Type="http://schemas.openxmlformats.org/officeDocument/2006/relationships/image" Target="../media/image32.png"/><Relationship Id="rId11" Type="http://schemas.openxmlformats.org/officeDocument/2006/relationships/image" Target="../media/image11.png"/><Relationship Id="rId24" Type="http://schemas.openxmlformats.org/officeDocument/2006/relationships/image" Target="../media/image48.svg"/><Relationship Id="rId5" Type="http://schemas.openxmlformats.org/officeDocument/2006/relationships/image" Target="../media/image31.png"/><Relationship Id="rId15" Type="http://schemas.openxmlformats.org/officeDocument/2006/relationships/image" Target="../media/image39.png"/><Relationship Id="rId23" Type="http://schemas.openxmlformats.org/officeDocument/2006/relationships/image" Target="../media/image47.png"/><Relationship Id="rId10" Type="http://schemas.openxmlformats.org/officeDocument/2006/relationships/image" Target="../media/image36.svg"/><Relationship Id="rId19" Type="http://schemas.openxmlformats.org/officeDocument/2006/relationships/image" Target="../media/image43.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38.svg"/><Relationship Id="rId22" Type="http://schemas.openxmlformats.org/officeDocument/2006/relationships/image" Target="../media/image46.svg"/></Relationships>
</file>

<file path=ppt/slides/_rels/slide9.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7.svg"/><Relationship Id="rId18" Type="http://schemas.openxmlformats.org/officeDocument/2006/relationships/chart" Target="../charts/chart3.xml"/><Relationship Id="rId3" Type="http://schemas.openxmlformats.org/officeDocument/2006/relationships/chart" Target="../charts/chart1.xml"/><Relationship Id="rId7" Type="http://schemas.openxmlformats.org/officeDocument/2006/relationships/image" Target="../media/image52.svg"/><Relationship Id="rId12" Type="http://schemas.openxmlformats.org/officeDocument/2006/relationships/image" Target="../media/image56.png"/><Relationship Id="rId17" Type="http://schemas.openxmlformats.org/officeDocument/2006/relationships/image" Target="../media/image61.svg"/><Relationship Id="rId2" Type="http://schemas.openxmlformats.org/officeDocument/2006/relationships/notesSlide" Target="../notesSlides/notesSlide9.xml"/><Relationship Id="rId16" Type="http://schemas.openxmlformats.org/officeDocument/2006/relationships/image" Target="../media/image60.png"/><Relationship Id="rId1" Type="http://schemas.openxmlformats.org/officeDocument/2006/relationships/slideLayout" Target="../slideLayouts/slideLayout21.xml"/><Relationship Id="rId6" Type="http://schemas.openxmlformats.org/officeDocument/2006/relationships/image" Target="../media/image51.png"/><Relationship Id="rId11" Type="http://schemas.openxmlformats.org/officeDocument/2006/relationships/image" Target="../media/image55.png"/><Relationship Id="rId5" Type="http://schemas.openxmlformats.org/officeDocument/2006/relationships/image" Target="../media/image50.svg"/><Relationship Id="rId15" Type="http://schemas.openxmlformats.org/officeDocument/2006/relationships/image" Target="../media/image59.svg"/><Relationship Id="rId10" Type="http://schemas.openxmlformats.org/officeDocument/2006/relationships/chart" Target="../charts/chart2.xml"/><Relationship Id="rId19" Type="http://schemas.openxmlformats.org/officeDocument/2006/relationships/chart" Target="../charts/chart4.xml"/><Relationship Id="rId4" Type="http://schemas.openxmlformats.org/officeDocument/2006/relationships/image" Target="../media/image49.png"/><Relationship Id="rId9" Type="http://schemas.openxmlformats.org/officeDocument/2006/relationships/image" Target="../media/image54.svg"/><Relationship Id="rId14" Type="http://schemas.openxmlformats.org/officeDocument/2006/relationships/image" Target="../media/image5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F4A53-BC01-D195-2881-A1F31E2FB06C}"/>
              </a:ext>
            </a:extLst>
          </p:cNvPr>
          <p:cNvSpPr>
            <a:spLocks noGrp="1"/>
          </p:cNvSpPr>
          <p:nvPr>
            <p:ph type="title"/>
          </p:nvPr>
        </p:nvSpPr>
        <p:spPr>
          <a:xfrm>
            <a:off x="314323" y="269601"/>
            <a:ext cx="7146020" cy="886673"/>
          </a:xfrm>
        </p:spPr>
        <p:txBody>
          <a:bodyPr/>
          <a:lstStyle/>
          <a:p>
            <a:r>
              <a:rPr lang="en-AU" dirty="0"/>
              <a:t>The rise of e-micromobility</a:t>
            </a:r>
          </a:p>
        </p:txBody>
      </p:sp>
      <p:sp>
        <p:nvSpPr>
          <p:cNvPr id="3" name="Subtitle 2">
            <a:extLst>
              <a:ext uri="{FF2B5EF4-FFF2-40B4-BE49-F238E27FC236}">
                <a16:creationId xmlns:a16="http://schemas.microsoft.com/office/drawing/2014/main" id="{4665374F-CF21-DAAD-A8AE-B862A6B293AF}"/>
              </a:ext>
            </a:extLst>
          </p:cNvPr>
          <p:cNvSpPr>
            <a:spLocks noGrp="1"/>
          </p:cNvSpPr>
          <p:nvPr>
            <p:ph type="subTitle" idx="1"/>
          </p:nvPr>
        </p:nvSpPr>
        <p:spPr/>
        <p:txBody>
          <a:bodyPr/>
          <a:lstStyle/>
          <a:p>
            <a:r>
              <a:rPr lang="en-AU" dirty="0"/>
              <a:t>Implications for the NSW CTP Scheme</a:t>
            </a:r>
          </a:p>
          <a:p>
            <a:r>
              <a:rPr lang="en-AU" dirty="0"/>
              <a:t>Belinda Ernst and Ning An</a:t>
            </a:r>
          </a:p>
          <a:p>
            <a:endParaRPr lang="en-AU" dirty="0"/>
          </a:p>
        </p:txBody>
      </p:sp>
    </p:spTree>
    <p:extLst>
      <p:ext uri="{BB962C8B-B14F-4D97-AF65-F5344CB8AC3E}">
        <p14:creationId xmlns:p14="http://schemas.microsoft.com/office/powerpoint/2010/main" val="4273033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6E9B8C-89D4-996E-23EF-191F76FB6B26}"/>
            </a:ext>
          </a:extLst>
        </p:cNvPr>
        <p:cNvGrpSpPr/>
        <p:nvPr/>
      </p:nvGrpSpPr>
      <p:grpSpPr>
        <a:xfrm>
          <a:off x="0" y="0"/>
          <a:ext cx="0" cy="0"/>
          <a:chOff x="0" y="0"/>
          <a:chExt cx="0" cy="0"/>
        </a:xfrm>
      </p:grpSpPr>
      <p:sp>
        <p:nvSpPr>
          <p:cNvPr id="3" name="Title 7">
            <a:extLst>
              <a:ext uri="{FF2B5EF4-FFF2-40B4-BE49-F238E27FC236}">
                <a16:creationId xmlns:a16="http://schemas.microsoft.com/office/drawing/2014/main" id="{0B9A8AAC-C1FE-4B7B-E71D-AD25729C46AC}"/>
              </a:ext>
            </a:extLst>
          </p:cNvPr>
          <p:cNvSpPr txBox="1">
            <a:spLocks/>
          </p:cNvSpPr>
          <p:nvPr/>
        </p:nvSpPr>
        <p:spPr>
          <a:xfrm>
            <a:off x="326848" y="288389"/>
            <a:ext cx="9880142" cy="1232435"/>
          </a:xfrm>
          <a:prstGeom prst="rect">
            <a:avLst/>
          </a:prstGeom>
        </p:spPr>
        <p:txBody>
          <a:bodyPr/>
          <a:lstStyle>
            <a:lvl1pPr algn="l" defTabSz="914400" rtl="0" eaLnBrk="1" latinLnBrk="0" hangingPunct="1">
              <a:lnSpc>
                <a:spcPct val="90000"/>
              </a:lnSpc>
              <a:spcBef>
                <a:spcPct val="0"/>
              </a:spcBef>
              <a:buNone/>
              <a:defRPr sz="3100" kern="1200">
                <a:solidFill>
                  <a:schemeClr val="tx1"/>
                </a:solidFill>
                <a:latin typeface="+mj-lt"/>
                <a:ea typeface="+mj-ea"/>
                <a:cs typeface="+mj-cs"/>
              </a:defRPr>
            </a:lvl1pPr>
          </a:lstStyle>
          <a:p>
            <a:r>
              <a:rPr lang="en-US" dirty="0"/>
              <a:t>MMD injury profile, claim profile and average claim size</a:t>
            </a:r>
          </a:p>
        </p:txBody>
      </p:sp>
      <p:sp>
        <p:nvSpPr>
          <p:cNvPr id="6" name="TextBox 5">
            <a:extLst>
              <a:ext uri="{FF2B5EF4-FFF2-40B4-BE49-F238E27FC236}">
                <a16:creationId xmlns:a16="http://schemas.microsoft.com/office/drawing/2014/main" id="{75D6E188-4164-B4A8-DA14-16E9D394EB45}"/>
              </a:ext>
            </a:extLst>
          </p:cNvPr>
          <p:cNvSpPr txBox="1"/>
          <p:nvPr/>
        </p:nvSpPr>
        <p:spPr>
          <a:xfrm>
            <a:off x="663334" y="8513890"/>
            <a:ext cx="4760897" cy="1722749"/>
          </a:xfrm>
          <a:prstGeom prst="rect">
            <a:avLst/>
          </a:prstGeom>
          <a:solidFill>
            <a:schemeClr val="accent1">
              <a:lumMod val="20000"/>
              <a:lumOff val="80000"/>
            </a:schemeClr>
          </a:solidFill>
          <a:effectLst>
            <a:outerShdw blurRad="50800" dist="38100" dir="2700000" algn="tl" rotWithShape="0">
              <a:prstClr val="black">
                <a:alpha val="40000"/>
              </a:prstClr>
            </a:outerShdw>
          </a:effectLst>
        </p:spPr>
        <p:txBody>
          <a:bodyPr wrap="square" lIns="144000" tIns="36557" rIns="108000" bIns="36000" rtlCol="0" anchor="ctr">
            <a:noAutofit/>
          </a:bodyPr>
          <a:lstStyle/>
          <a:p>
            <a:pPr marR="0" lvl="0" defTabSz="1071743" rtl="0" eaLnBrk="1" fontAlgn="auto" latinLnBrk="0" hangingPunct="1">
              <a:lnSpc>
                <a:spcPct val="100000"/>
              </a:lnSpc>
              <a:spcBef>
                <a:spcPts val="300"/>
              </a:spcBef>
              <a:spcAft>
                <a:spcPts val="400"/>
              </a:spcAft>
              <a:buClr>
                <a:srgbClr val="FFE600"/>
              </a:buClr>
              <a:buSzPct val="100000"/>
              <a:tabLst/>
              <a:defRPr/>
            </a:pPr>
            <a:r>
              <a:rPr lang="en-AU" sz="1400" dirty="0">
                <a:solidFill>
                  <a:srgbClr val="2E2E38"/>
                </a:solidFill>
              </a:rPr>
              <a:t>7% and 4% of injuries are assumed to be pedestrians for e-bike and e-scooters respectively. </a:t>
            </a:r>
          </a:p>
          <a:p>
            <a:pPr marR="0" lvl="0" defTabSz="1071743" rtl="0" eaLnBrk="1" fontAlgn="auto" latinLnBrk="0" hangingPunct="1">
              <a:lnSpc>
                <a:spcPct val="100000"/>
              </a:lnSpc>
              <a:spcBef>
                <a:spcPts val="300"/>
              </a:spcBef>
              <a:spcAft>
                <a:spcPts val="400"/>
              </a:spcAft>
              <a:buClr>
                <a:srgbClr val="FFE600"/>
              </a:buClr>
              <a:buSzPct val="100000"/>
              <a:tabLst/>
              <a:defRPr/>
            </a:pPr>
            <a:r>
              <a:rPr lang="en-AU" sz="1400" dirty="0">
                <a:solidFill>
                  <a:srgbClr val="2E2E38"/>
                </a:solidFill>
              </a:rPr>
              <a:t>2.3% and 2% of injuries are assumed to be pillions for e-bikes and e-scooters respectively.</a:t>
            </a:r>
          </a:p>
          <a:p>
            <a:pPr marR="0" lvl="0" defTabSz="1071743" rtl="0" eaLnBrk="1" fontAlgn="auto" latinLnBrk="0" hangingPunct="1">
              <a:lnSpc>
                <a:spcPct val="100000"/>
              </a:lnSpc>
              <a:spcBef>
                <a:spcPts val="300"/>
              </a:spcBef>
              <a:spcAft>
                <a:spcPts val="400"/>
              </a:spcAft>
              <a:buClr>
                <a:srgbClr val="FFE600"/>
              </a:buClr>
              <a:buSzPct val="100000"/>
              <a:tabLst/>
              <a:defRPr/>
            </a:pPr>
            <a:r>
              <a:rPr lang="en-AU" sz="1400" dirty="0">
                <a:solidFill>
                  <a:srgbClr val="2E2E38"/>
                </a:solidFill>
              </a:rPr>
              <a:t>For both </a:t>
            </a:r>
            <a:r>
              <a:rPr lang="en-AU" sz="1400" b="1" dirty="0">
                <a:solidFill>
                  <a:srgbClr val="2E2E38"/>
                </a:solidFill>
              </a:rPr>
              <a:t>e-bikes</a:t>
            </a:r>
            <a:r>
              <a:rPr lang="en-AU" sz="1400" dirty="0">
                <a:solidFill>
                  <a:srgbClr val="2E2E38"/>
                </a:solidFill>
              </a:rPr>
              <a:t> and </a:t>
            </a:r>
            <a:r>
              <a:rPr lang="en-AU" sz="1400" b="1" dirty="0">
                <a:solidFill>
                  <a:srgbClr val="2E2E38"/>
                </a:solidFill>
              </a:rPr>
              <a:t>e-scooters,</a:t>
            </a:r>
            <a:r>
              <a:rPr lang="en-AU" sz="1400" dirty="0">
                <a:solidFill>
                  <a:srgbClr val="2E2E38"/>
                </a:solidFill>
              </a:rPr>
              <a:t> the proportions of injuries relating to pedestrians, pillions and riders are assumed to be the same across privately owned and rental scheme MMDs.</a:t>
            </a:r>
          </a:p>
        </p:txBody>
      </p:sp>
      <p:sp>
        <p:nvSpPr>
          <p:cNvPr id="105" name="Rectangle 104">
            <a:extLst>
              <a:ext uri="{FF2B5EF4-FFF2-40B4-BE49-F238E27FC236}">
                <a16:creationId xmlns:a16="http://schemas.microsoft.com/office/drawing/2014/main" id="{A0F12351-652A-6A23-72B6-A4AEF7E84FB6}"/>
              </a:ext>
            </a:extLst>
          </p:cNvPr>
          <p:cNvSpPr/>
          <p:nvPr/>
        </p:nvSpPr>
        <p:spPr>
          <a:xfrm>
            <a:off x="455852" y="1101311"/>
            <a:ext cx="6251082" cy="262800"/>
          </a:xfrm>
          <a:prstGeom prst="rect">
            <a:avLst/>
          </a:prstGeom>
          <a:solidFill>
            <a:schemeClr val="tx1">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algn="ctr"/>
            <a:r>
              <a:rPr lang="en-AU" sz="1400" b="1" dirty="0">
                <a:solidFill>
                  <a:srgbClr val="FFFFFF"/>
                </a:solidFill>
                <a:latin typeface="+mj-lt"/>
              </a:rPr>
              <a:t>MMD injury profiles</a:t>
            </a:r>
            <a:endParaRPr lang="en-AU" sz="1400" b="1" baseline="30000" dirty="0">
              <a:solidFill>
                <a:srgbClr val="FFFFFF"/>
              </a:solidFill>
              <a:latin typeface="+mj-lt"/>
            </a:endParaRPr>
          </a:p>
        </p:txBody>
      </p:sp>
      <p:sp>
        <p:nvSpPr>
          <p:cNvPr id="439" name="TextBox 438">
            <a:extLst>
              <a:ext uri="{FF2B5EF4-FFF2-40B4-BE49-F238E27FC236}">
                <a16:creationId xmlns:a16="http://schemas.microsoft.com/office/drawing/2014/main" id="{27B48D54-BC5C-B27B-B9CB-5C8DCAD75D51}"/>
              </a:ext>
            </a:extLst>
          </p:cNvPr>
          <p:cNvSpPr txBox="1"/>
          <p:nvPr/>
        </p:nvSpPr>
        <p:spPr>
          <a:xfrm>
            <a:off x="9411288" y="7008416"/>
            <a:ext cx="2976041" cy="261610"/>
          </a:xfrm>
          <a:prstGeom prst="rect">
            <a:avLst/>
          </a:prstGeom>
          <a:noFill/>
          <a:ln>
            <a:noFill/>
          </a:ln>
        </p:spPr>
        <p:txBody>
          <a:bodyPr wrap="square">
            <a:spAutoFit/>
          </a:bodyPr>
          <a:lstStyle/>
          <a:p>
            <a:r>
              <a:rPr lang="en-AU" sz="1100" baseline="30000" dirty="0">
                <a:solidFill>
                  <a:schemeClr val="tx2">
                    <a:lumMod val="75000"/>
                  </a:schemeClr>
                </a:solidFill>
                <a:latin typeface="+mj-lt"/>
              </a:rPr>
              <a:t>1</a:t>
            </a:r>
            <a:r>
              <a:rPr lang="en-AU" sz="1100" dirty="0">
                <a:solidFill>
                  <a:schemeClr val="tx2">
                    <a:lumMod val="75000"/>
                  </a:schemeClr>
                </a:solidFill>
                <a:latin typeface="+mj-lt"/>
              </a:rPr>
              <a:t> Inclusive of all parties injured in an accident.</a:t>
            </a:r>
          </a:p>
        </p:txBody>
      </p:sp>
      <p:sp>
        <p:nvSpPr>
          <p:cNvPr id="31" name="TextBox 30">
            <a:extLst>
              <a:ext uri="{FF2B5EF4-FFF2-40B4-BE49-F238E27FC236}">
                <a16:creationId xmlns:a16="http://schemas.microsoft.com/office/drawing/2014/main" id="{D9497192-FA8C-A1CC-EEDD-E849C59F767A}"/>
              </a:ext>
            </a:extLst>
          </p:cNvPr>
          <p:cNvSpPr txBox="1"/>
          <p:nvPr/>
        </p:nvSpPr>
        <p:spPr>
          <a:xfrm>
            <a:off x="3263092" y="7094594"/>
            <a:ext cx="974523" cy="350865"/>
          </a:xfrm>
          <a:prstGeom prst="rect">
            <a:avLst/>
          </a:prstGeom>
          <a:noFill/>
        </p:spPr>
        <p:txBody>
          <a:bodyPr wrap="square" lIns="0" tIns="36576" rIns="0" bIns="0" rtlCol="0">
            <a:spAutoFit/>
          </a:bodyPr>
          <a:lstStyle/>
          <a:p>
            <a:pPr algn="l">
              <a:lnSpc>
                <a:spcPct val="85000"/>
              </a:lnSpc>
              <a:spcAft>
                <a:spcPts val="600"/>
              </a:spcAft>
              <a:buClr>
                <a:schemeClr val="accent2"/>
              </a:buClr>
              <a:buSzPct val="70000"/>
            </a:pPr>
            <a:r>
              <a:rPr lang="en-AU" sz="2400" b="1">
                <a:solidFill>
                  <a:schemeClr val="accent5">
                    <a:lumMod val="60000"/>
                    <a:lumOff val="40000"/>
                  </a:schemeClr>
                </a:solidFill>
                <a:latin typeface="+mj-lt"/>
              </a:rPr>
              <a:t>64%</a:t>
            </a:r>
          </a:p>
        </p:txBody>
      </p:sp>
      <p:sp>
        <p:nvSpPr>
          <p:cNvPr id="32" name="Rectangle 31">
            <a:extLst>
              <a:ext uri="{FF2B5EF4-FFF2-40B4-BE49-F238E27FC236}">
                <a16:creationId xmlns:a16="http://schemas.microsoft.com/office/drawing/2014/main" id="{AAFBF90B-2E0D-BADA-E11C-582A10542F15}"/>
              </a:ext>
            </a:extLst>
          </p:cNvPr>
          <p:cNvSpPr>
            <a:spLocks/>
          </p:cNvSpPr>
          <p:nvPr/>
        </p:nvSpPr>
        <p:spPr>
          <a:xfrm>
            <a:off x="3882159" y="7054009"/>
            <a:ext cx="1487796" cy="47535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1071743" rtl="0" eaLnBrk="1" fontAlgn="auto" latinLnBrk="0" hangingPunct="1">
              <a:lnSpc>
                <a:spcPct val="100000"/>
              </a:lnSpc>
              <a:spcBef>
                <a:spcPts val="300"/>
              </a:spcBef>
              <a:spcAft>
                <a:spcPts val="400"/>
              </a:spcAft>
              <a:buClr>
                <a:srgbClr val="FFE600"/>
              </a:buClr>
              <a:buSzPct val="100000"/>
              <a:tabLst/>
              <a:defRPr/>
            </a:pPr>
            <a:r>
              <a:rPr lang="en-AU" sz="1100" b="1">
                <a:solidFill>
                  <a:srgbClr val="2E2E38"/>
                </a:solidFill>
                <a:latin typeface="+mj-lt"/>
              </a:rPr>
              <a:t>of e-bike injured persons are at-fault</a:t>
            </a:r>
            <a:endParaRPr lang="en-AU" sz="1100">
              <a:solidFill>
                <a:srgbClr val="2E2E38"/>
              </a:solidFill>
              <a:latin typeface="+mj-lt"/>
            </a:endParaRPr>
          </a:p>
          <a:p>
            <a:pPr marR="0" lvl="0" algn="l" defTabSz="1071743" rtl="0" eaLnBrk="1" fontAlgn="auto" latinLnBrk="0" hangingPunct="1">
              <a:lnSpc>
                <a:spcPct val="100000"/>
              </a:lnSpc>
              <a:spcBef>
                <a:spcPts val="300"/>
              </a:spcBef>
              <a:spcAft>
                <a:spcPts val="400"/>
              </a:spcAft>
              <a:buSzPct val="70000"/>
              <a:tabLst/>
              <a:defRPr/>
            </a:pPr>
            <a:endParaRPr lang="en-AU" sz="1100">
              <a:solidFill>
                <a:srgbClr val="2E2E38"/>
              </a:solidFill>
              <a:latin typeface="+mj-lt"/>
            </a:endParaRPr>
          </a:p>
          <a:p>
            <a:pPr marL="270000" marR="0" lvl="0" indent="-270000" algn="l" defTabSz="1071743" rtl="0" eaLnBrk="1" fontAlgn="auto" latinLnBrk="0" hangingPunct="1">
              <a:lnSpc>
                <a:spcPct val="100000"/>
              </a:lnSpc>
              <a:spcBef>
                <a:spcPts val="300"/>
              </a:spcBef>
              <a:spcAft>
                <a:spcPts val="400"/>
              </a:spcAft>
              <a:buClr>
                <a:srgbClr val="FFE600"/>
              </a:buClr>
              <a:buSzPct val="100000"/>
              <a:buFont typeface="Arial" panose="020B0604020202020204" pitchFamily="34" charset="0"/>
              <a:buChar char="►"/>
              <a:tabLst/>
              <a:defRPr/>
            </a:pPr>
            <a:endParaRPr kumimoji="0" lang="en-AU" sz="1200" b="0" i="0" u="none" strike="noStrike" kern="1200" cap="none" spc="0" normalizeH="0" baseline="0" noProof="0">
              <a:ln>
                <a:noFill/>
              </a:ln>
              <a:solidFill>
                <a:srgbClr val="2E2E38"/>
              </a:solidFill>
              <a:effectLst/>
              <a:uLnTx/>
              <a:uFillTx/>
              <a:latin typeface="+mj-lt"/>
            </a:endParaRPr>
          </a:p>
        </p:txBody>
      </p:sp>
      <p:sp>
        <p:nvSpPr>
          <p:cNvPr id="41" name="TextBox 40">
            <a:extLst>
              <a:ext uri="{FF2B5EF4-FFF2-40B4-BE49-F238E27FC236}">
                <a16:creationId xmlns:a16="http://schemas.microsoft.com/office/drawing/2014/main" id="{D686F05B-D895-C73E-D6DD-3771DECBFD78}"/>
              </a:ext>
            </a:extLst>
          </p:cNvPr>
          <p:cNvSpPr txBox="1"/>
          <p:nvPr/>
        </p:nvSpPr>
        <p:spPr>
          <a:xfrm>
            <a:off x="3271490" y="7777576"/>
            <a:ext cx="974523" cy="350865"/>
          </a:xfrm>
          <a:prstGeom prst="rect">
            <a:avLst/>
          </a:prstGeom>
          <a:noFill/>
        </p:spPr>
        <p:txBody>
          <a:bodyPr wrap="square" lIns="0" tIns="36576" rIns="0" bIns="0" rtlCol="0">
            <a:spAutoFit/>
          </a:bodyPr>
          <a:lstStyle/>
          <a:p>
            <a:pPr algn="l">
              <a:lnSpc>
                <a:spcPct val="85000"/>
              </a:lnSpc>
              <a:spcAft>
                <a:spcPts val="600"/>
              </a:spcAft>
              <a:buClr>
                <a:schemeClr val="accent2"/>
              </a:buClr>
              <a:buSzPct val="70000"/>
            </a:pPr>
            <a:r>
              <a:rPr lang="en-AU" sz="2400" b="1">
                <a:solidFill>
                  <a:schemeClr val="accent6"/>
                </a:solidFill>
                <a:latin typeface="+mj-lt"/>
              </a:rPr>
              <a:t>78%</a:t>
            </a:r>
          </a:p>
        </p:txBody>
      </p:sp>
      <p:sp>
        <p:nvSpPr>
          <p:cNvPr id="48" name="Rectangle 47">
            <a:extLst>
              <a:ext uri="{FF2B5EF4-FFF2-40B4-BE49-F238E27FC236}">
                <a16:creationId xmlns:a16="http://schemas.microsoft.com/office/drawing/2014/main" id="{3325D378-BBE0-F638-EB9B-1839E747F2ED}"/>
              </a:ext>
            </a:extLst>
          </p:cNvPr>
          <p:cNvSpPr>
            <a:spLocks/>
          </p:cNvSpPr>
          <p:nvPr/>
        </p:nvSpPr>
        <p:spPr>
          <a:xfrm>
            <a:off x="3925005" y="7769484"/>
            <a:ext cx="1602739" cy="28605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1071743" rtl="0" eaLnBrk="1" fontAlgn="auto" latinLnBrk="0" hangingPunct="1">
              <a:lnSpc>
                <a:spcPct val="100000"/>
              </a:lnSpc>
              <a:spcBef>
                <a:spcPts val="300"/>
              </a:spcBef>
              <a:spcAft>
                <a:spcPts val="400"/>
              </a:spcAft>
              <a:buClr>
                <a:srgbClr val="FFE600"/>
              </a:buClr>
              <a:buSzPct val="100000"/>
              <a:tabLst/>
              <a:defRPr/>
            </a:pPr>
            <a:r>
              <a:rPr lang="en-AU" sz="1100" b="1">
                <a:solidFill>
                  <a:srgbClr val="2E2E38"/>
                </a:solidFill>
                <a:latin typeface="+mj-lt"/>
              </a:rPr>
              <a:t>of e-scooter injured persons are at-fault</a:t>
            </a:r>
            <a:endParaRPr lang="en-AU" sz="1100">
              <a:solidFill>
                <a:srgbClr val="2E2E38"/>
              </a:solidFill>
              <a:latin typeface="+mj-lt"/>
            </a:endParaRPr>
          </a:p>
        </p:txBody>
      </p:sp>
      <p:grpSp>
        <p:nvGrpSpPr>
          <p:cNvPr id="50" name="Group 49">
            <a:extLst>
              <a:ext uri="{FF2B5EF4-FFF2-40B4-BE49-F238E27FC236}">
                <a16:creationId xmlns:a16="http://schemas.microsoft.com/office/drawing/2014/main" id="{669CC819-79F0-888A-F4AC-948D40E2427E}"/>
              </a:ext>
            </a:extLst>
          </p:cNvPr>
          <p:cNvGrpSpPr/>
          <p:nvPr/>
        </p:nvGrpSpPr>
        <p:grpSpPr>
          <a:xfrm>
            <a:off x="765983" y="7769485"/>
            <a:ext cx="2206532" cy="346529"/>
            <a:chOff x="4279016" y="2118767"/>
            <a:chExt cx="2206532" cy="346529"/>
          </a:xfrm>
        </p:grpSpPr>
        <p:pic>
          <p:nvPicPr>
            <p:cNvPr id="52" name="Graphic 51" descr="Man with solid fill">
              <a:extLst>
                <a:ext uri="{FF2B5EF4-FFF2-40B4-BE49-F238E27FC236}">
                  <a16:creationId xmlns:a16="http://schemas.microsoft.com/office/drawing/2014/main" id="{2F9F3D00-E982-CD0A-81DD-5C1DF89BBFE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79016" y="2118767"/>
              <a:ext cx="346529" cy="346529"/>
            </a:xfrm>
            <a:prstGeom prst="rect">
              <a:avLst/>
            </a:prstGeom>
          </p:spPr>
        </p:pic>
        <p:pic>
          <p:nvPicPr>
            <p:cNvPr id="54" name="Graphic 53" descr="Man with solid fill">
              <a:extLst>
                <a:ext uri="{FF2B5EF4-FFF2-40B4-BE49-F238E27FC236}">
                  <a16:creationId xmlns:a16="http://schemas.microsoft.com/office/drawing/2014/main" id="{C5BC26C5-6155-8675-E5B5-58A741632AD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85683" y="2118767"/>
              <a:ext cx="346529" cy="346529"/>
            </a:xfrm>
            <a:prstGeom prst="rect">
              <a:avLst/>
            </a:prstGeom>
          </p:spPr>
        </p:pic>
        <p:pic>
          <p:nvPicPr>
            <p:cNvPr id="55" name="Graphic 54" descr="Man with solid fill">
              <a:extLst>
                <a:ext uri="{FF2B5EF4-FFF2-40B4-BE49-F238E27FC236}">
                  <a16:creationId xmlns:a16="http://schemas.microsoft.com/office/drawing/2014/main" id="{D48F655D-7BE8-1E59-90FE-7D609661650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92350" y="2118767"/>
              <a:ext cx="346529" cy="346529"/>
            </a:xfrm>
            <a:prstGeom prst="rect">
              <a:avLst/>
            </a:prstGeom>
          </p:spPr>
        </p:pic>
        <p:pic>
          <p:nvPicPr>
            <p:cNvPr id="56" name="Graphic 55" descr="Man with solid fill">
              <a:extLst>
                <a:ext uri="{FF2B5EF4-FFF2-40B4-BE49-F238E27FC236}">
                  <a16:creationId xmlns:a16="http://schemas.microsoft.com/office/drawing/2014/main" id="{4F123A8D-1C35-4611-F310-022CB93AF86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99017" y="2118767"/>
              <a:ext cx="346529" cy="346529"/>
            </a:xfrm>
            <a:prstGeom prst="rect">
              <a:avLst/>
            </a:prstGeom>
          </p:spPr>
        </p:pic>
        <p:pic>
          <p:nvPicPr>
            <p:cNvPr id="57" name="Graphic 56" descr="Man with solid fill">
              <a:extLst>
                <a:ext uri="{FF2B5EF4-FFF2-40B4-BE49-F238E27FC236}">
                  <a16:creationId xmlns:a16="http://schemas.microsoft.com/office/drawing/2014/main" id="{56A8705A-A33F-7606-4C74-0EC0CF522FB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05684" y="2118767"/>
              <a:ext cx="346529" cy="346529"/>
            </a:xfrm>
            <a:prstGeom prst="rect">
              <a:avLst/>
            </a:prstGeom>
          </p:spPr>
        </p:pic>
        <p:pic>
          <p:nvPicPr>
            <p:cNvPr id="58" name="Graphic 57" descr="Man with solid fill">
              <a:extLst>
                <a:ext uri="{FF2B5EF4-FFF2-40B4-BE49-F238E27FC236}">
                  <a16:creationId xmlns:a16="http://schemas.microsoft.com/office/drawing/2014/main" id="{16FEFD7D-5ACA-9792-1668-493895E6BFF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12351" y="2118767"/>
              <a:ext cx="346529" cy="346529"/>
            </a:xfrm>
            <a:prstGeom prst="rect">
              <a:avLst/>
            </a:prstGeom>
          </p:spPr>
        </p:pic>
        <p:pic>
          <p:nvPicPr>
            <p:cNvPr id="59" name="Graphic 58" descr="Man with solid fill">
              <a:extLst>
                <a:ext uri="{FF2B5EF4-FFF2-40B4-BE49-F238E27FC236}">
                  <a16:creationId xmlns:a16="http://schemas.microsoft.com/office/drawing/2014/main" id="{AE591D6C-D20A-0395-3F3C-B977C7B71DD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19018" y="2118767"/>
              <a:ext cx="346529" cy="346529"/>
            </a:xfrm>
            <a:prstGeom prst="rect">
              <a:avLst/>
            </a:prstGeom>
          </p:spPr>
        </p:pic>
        <p:pic>
          <p:nvPicPr>
            <p:cNvPr id="60" name="Graphic 59" descr="Man with solid fill">
              <a:extLst>
                <a:ext uri="{FF2B5EF4-FFF2-40B4-BE49-F238E27FC236}">
                  <a16:creationId xmlns:a16="http://schemas.microsoft.com/office/drawing/2014/main" id="{0965936F-52B5-39D4-4EA1-6640A469CC1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25685" y="2118767"/>
              <a:ext cx="346529" cy="346529"/>
            </a:xfrm>
            <a:prstGeom prst="rect">
              <a:avLst/>
            </a:prstGeom>
          </p:spPr>
        </p:pic>
        <p:pic>
          <p:nvPicPr>
            <p:cNvPr id="61" name="Graphic 60" descr="Man with solid fill">
              <a:extLst>
                <a:ext uri="{FF2B5EF4-FFF2-40B4-BE49-F238E27FC236}">
                  <a16:creationId xmlns:a16="http://schemas.microsoft.com/office/drawing/2014/main" id="{1AA7D9E6-0368-8A03-1797-FA757C65566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139019" y="2118767"/>
              <a:ext cx="346529" cy="346529"/>
            </a:xfrm>
            <a:prstGeom prst="rect">
              <a:avLst/>
            </a:prstGeom>
          </p:spPr>
        </p:pic>
      </p:grpSp>
      <p:grpSp>
        <p:nvGrpSpPr>
          <p:cNvPr id="62" name="Group 61">
            <a:extLst>
              <a:ext uri="{FF2B5EF4-FFF2-40B4-BE49-F238E27FC236}">
                <a16:creationId xmlns:a16="http://schemas.microsoft.com/office/drawing/2014/main" id="{B92AFEB9-67D3-70BF-C1A0-F7353CF52FA6}"/>
              </a:ext>
            </a:extLst>
          </p:cNvPr>
          <p:cNvGrpSpPr/>
          <p:nvPr/>
        </p:nvGrpSpPr>
        <p:grpSpPr>
          <a:xfrm>
            <a:off x="765983" y="7083616"/>
            <a:ext cx="2206532" cy="346529"/>
            <a:chOff x="4279016" y="1701540"/>
            <a:chExt cx="2206532" cy="346529"/>
          </a:xfrm>
        </p:grpSpPr>
        <p:grpSp>
          <p:nvGrpSpPr>
            <p:cNvPr id="63" name="Group 62">
              <a:extLst>
                <a:ext uri="{FF2B5EF4-FFF2-40B4-BE49-F238E27FC236}">
                  <a16:creationId xmlns:a16="http://schemas.microsoft.com/office/drawing/2014/main" id="{99925665-8DE7-3BA6-DE08-1DBBD34564FA}"/>
                </a:ext>
              </a:extLst>
            </p:cNvPr>
            <p:cNvGrpSpPr/>
            <p:nvPr/>
          </p:nvGrpSpPr>
          <p:grpSpPr>
            <a:xfrm>
              <a:off x="4279016" y="1701540"/>
              <a:ext cx="2206532" cy="346529"/>
              <a:chOff x="3371245" y="985015"/>
              <a:chExt cx="2206532" cy="346529"/>
            </a:xfrm>
          </p:grpSpPr>
          <p:pic>
            <p:nvPicPr>
              <p:cNvPr id="67" name="Graphic 66" descr="Man with solid fill">
                <a:extLst>
                  <a:ext uri="{FF2B5EF4-FFF2-40B4-BE49-F238E27FC236}">
                    <a16:creationId xmlns:a16="http://schemas.microsoft.com/office/drawing/2014/main" id="{3ECDF13B-B722-857B-107F-57DA1C4AA3E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371245" y="985015"/>
                <a:ext cx="346529" cy="346529"/>
              </a:xfrm>
              <a:prstGeom prst="rect">
                <a:avLst/>
              </a:prstGeom>
            </p:spPr>
          </p:pic>
          <p:pic>
            <p:nvPicPr>
              <p:cNvPr id="68" name="Graphic 67" descr="Man with solid fill">
                <a:extLst>
                  <a:ext uri="{FF2B5EF4-FFF2-40B4-BE49-F238E27FC236}">
                    <a16:creationId xmlns:a16="http://schemas.microsoft.com/office/drawing/2014/main" id="{38E70484-A692-688C-E1DB-82BF43925E7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77912" y="985015"/>
                <a:ext cx="346529" cy="346529"/>
              </a:xfrm>
              <a:prstGeom prst="rect">
                <a:avLst/>
              </a:prstGeom>
            </p:spPr>
          </p:pic>
          <p:pic>
            <p:nvPicPr>
              <p:cNvPr id="70" name="Graphic 69" descr="Man with solid fill">
                <a:extLst>
                  <a:ext uri="{FF2B5EF4-FFF2-40B4-BE49-F238E27FC236}">
                    <a16:creationId xmlns:a16="http://schemas.microsoft.com/office/drawing/2014/main" id="{F47108D3-57FD-C71E-A29F-860796F6ECB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84579" y="985015"/>
                <a:ext cx="346529" cy="346529"/>
              </a:xfrm>
              <a:prstGeom prst="rect">
                <a:avLst/>
              </a:prstGeom>
            </p:spPr>
          </p:pic>
          <p:pic>
            <p:nvPicPr>
              <p:cNvPr id="71" name="Graphic 70" descr="Man with solid fill">
                <a:extLst>
                  <a:ext uri="{FF2B5EF4-FFF2-40B4-BE49-F238E27FC236}">
                    <a16:creationId xmlns:a16="http://schemas.microsoft.com/office/drawing/2014/main" id="{29020B02-3A87-C9FF-8B55-CFBB926DBF2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91246" y="985015"/>
                <a:ext cx="346529" cy="346529"/>
              </a:xfrm>
              <a:prstGeom prst="rect">
                <a:avLst/>
              </a:prstGeom>
            </p:spPr>
          </p:pic>
          <p:pic>
            <p:nvPicPr>
              <p:cNvPr id="72" name="Graphic 71" descr="Man with solid fill">
                <a:extLst>
                  <a:ext uri="{FF2B5EF4-FFF2-40B4-BE49-F238E27FC236}">
                    <a16:creationId xmlns:a16="http://schemas.microsoft.com/office/drawing/2014/main" id="{F61047EA-EBA7-FD94-F339-CD481599997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97913" y="985015"/>
                <a:ext cx="346529" cy="346529"/>
              </a:xfrm>
              <a:prstGeom prst="rect">
                <a:avLst/>
              </a:prstGeom>
            </p:spPr>
          </p:pic>
          <p:pic>
            <p:nvPicPr>
              <p:cNvPr id="73" name="Graphic 72" descr="Man with solid fill">
                <a:extLst>
                  <a:ext uri="{FF2B5EF4-FFF2-40B4-BE49-F238E27FC236}">
                    <a16:creationId xmlns:a16="http://schemas.microsoft.com/office/drawing/2014/main" id="{60251797-E508-D959-3228-E73339C082E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04580" y="985015"/>
                <a:ext cx="346529" cy="346529"/>
              </a:xfrm>
              <a:prstGeom prst="rect">
                <a:avLst/>
              </a:prstGeom>
            </p:spPr>
          </p:pic>
          <p:pic>
            <p:nvPicPr>
              <p:cNvPr id="74" name="Graphic 73" descr="Man with solid fill">
                <a:extLst>
                  <a:ext uri="{FF2B5EF4-FFF2-40B4-BE49-F238E27FC236}">
                    <a16:creationId xmlns:a16="http://schemas.microsoft.com/office/drawing/2014/main" id="{CBFB7424-5508-50DC-41EB-6EB16248619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17914" y="985015"/>
                <a:ext cx="346529" cy="346529"/>
              </a:xfrm>
              <a:prstGeom prst="rect">
                <a:avLst/>
              </a:prstGeom>
            </p:spPr>
          </p:pic>
          <p:pic>
            <p:nvPicPr>
              <p:cNvPr id="75" name="Graphic 74" descr="Man with solid fill">
                <a:extLst>
                  <a:ext uri="{FF2B5EF4-FFF2-40B4-BE49-F238E27FC236}">
                    <a16:creationId xmlns:a16="http://schemas.microsoft.com/office/drawing/2014/main" id="{7F185B7E-D4B7-3E6C-5F6B-C8AE6A87434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24581" y="985015"/>
                <a:ext cx="346529" cy="346529"/>
              </a:xfrm>
              <a:prstGeom prst="rect">
                <a:avLst/>
              </a:prstGeom>
            </p:spPr>
          </p:pic>
          <p:pic>
            <p:nvPicPr>
              <p:cNvPr id="76" name="Graphic 75" descr="Man with solid fill">
                <a:extLst>
                  <a:ext uri="{FF2B5EF4-FFF2-40B4-BE49-F238E27FC236}">
                    <a16:creationId xmlns:a16="http://schemas.microsoft.com/office/drawing/2014/main" id="{3BB8047E-C001-EF02-F030-FD33C8D160D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31248" y="985015"/>
                <a:ext cx="346529" cy="346529"/>
              </a:xfrm>
              <a:prstGeom prst="rect">
                <a:avLst/>
              </a:prstGeom>
            </p:spPr>
          </p:pic>
        </p:grpSp>
        <p:pic>
          <p:nvPicPr>
            <p:cNvPr id="64" name="Graphic 63" descr="Man with solid fill">
              <a:extLst>
                <a:ext uri="{FF2B5EF4-FFF2-40B4-BE49-F238E27FC236}">
                  <a16:creationId xmlns:a16="http://schemas.microsoft.com/office/drawing/2014/main" id="{A9518DA1-F637-CB4A-AF3D-CF06A17FAC25}"/>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r="50899"/>
            <a:stretch/>
          </p:blipFill>
          <p:spPr>
            <a:xfrm>
              <a:off x="5516101" y="1701540"/>
              <a:ext cx="170148" cy="346529"/>
            </a:xfrm>
            <a:prstGeom prst="rect">
              <a:avLst/>
            </a:prstGeom>
          </p:spPr>
        </p:pic>
        <p:pic>
          <p:nvPicPr>
            <p:cNvPr id="65" name="Graphic 64" descr="Man with solid fill">
              <a:extLst>
                <a:ext uri="{FF2B5EF4-FFF2-40B4-BE49-F238E27FC236}">
                  <a16:creationId xmlns:a16="http://schemas.microsoft.com/office/drawing/2014/main" id="{45B51849-CD60-80C2-4C9A-85B704279459}"/>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r="48258"/>
            <a:stretch/>
          </p:blipFill>
          <p:spPr>
            <a:xfrm flipH="1">
              <a:off x="5686249" y="1701540"/>
              <a:ext cx="179298" cy="346529"/>
            </a:xfrm>
            <a:prstGeom prst="rect">
              <a:avLst/>
            </a:prstGeom>
          </p:spPr>
        </p:pic>
      </p:grpSp>
      <p:pic>
        <p:nvPicPr>
          <p:cNvPr id="77" name="Graphic 76" descr="Man with solid fill">
            <a:extLst>
              <a:ext uri="{FF2B5EF4-FFF2-40B4-BE49-F238E27FC236}">
                <a16:creationId xmlns:a16="http://schemas.microsoft.com/office/drawing/2014/main" id="{817A3A67-115F-EBF2-F84B-FE38C9B630C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22638" y="7781912"/>
            <a:ext cx="346529" cy="346529"/>
          </a:xfrm>
          <a:prstGeom prst="rect">
            <a:avLst/>
          </a:prstGeom>
        </p:spPr>
      </p:pic>
      <p:pic>
        <p:nvPicPr>
          <p:cNvPr id="78" name="Picture 77">
            <a:extLst>
              <a:ext uri="{FF2B5EF4-FFF2-40B4-BE49-F238E27FC236}">
                <a16:creationId xmlns:a16="http://schemas.microsoft.com/office/drawing/2014/main" id="{7FC1EE46-834A-7F86-7A1E-A2F7AF1502C6}"/>
              </a:ext>
            </a:extLst>
          </p:cNvPr>
          <p:cNvPicPr>
            <a:picLocks noChangeAspect="1"/>
          </p:cNvPicPr>
          <p:nvPr/>
        </p:nvPicPr>
        <p:blipFill>
          <a:blip r:embed="rId9"/>
          <a:stretch>
            <a:fillRect/>
          </a:stretch>
        </p:blipFill>
        <p:spPr>
          <a:xfrm>
            <a:off x="2430375" y="7768801"/>
            <a:ext cx="38100" cy="333375"/>
          </a:xfrm>
          <a:prstGeom prst="rect">
            <a:avLst/>
          </a:prstGeom>
        </p:spPr>
      </p:pic>
      <p:sp>
        <p:nvSpPr>
          <p:cNvPr id="7" name="Rectangle 6">
            <a:extLst>
              <a:ext uri="{FF2B5EF4-FFF2-40B4-BE49-F238E27FC236}">
                <a16:creationId xmlns:a16="http://schemas.microsoft.com/office/drawing/2014/main" id="{5C1135CF-9182-DBAF-AEBB-B8ED65048638}"/>
              </a:ext>
            </a:extLst>
          </p:cNvPr>
          <p:cNvSpPr/>
          <p:nvPr/>
        </p:nvSpPr>
        <p:spPr>
          <a:xfrm>
            <a:off x="6761538" y="1101311"/>
            <a:ext cx="4860000" cy="262800"/>
          </a:xfrm>
          <a:prstGeom prst="rect">
            <a:avLst/>
          </a:prstGeom>
          <a:solidFill>
            <a:schemeClr val="tx1">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algn="ctr"/>
            <a:r>
              <a:rPr lang="en-AU" sz="1400" b="1" dirty="0">
                <a:solidFill>
                  <a:srgbClr val="FFFFFF"/>
                </a:solidFill>
                <a:latin typeface="+mj-lt"/>
              </a:rPr>
              <a:t>Claim profile</a:t>
            </a:r>
            <a:endParaRPr lang="en-AU" sz="1400" b="1" baseline="30000" dirty="0">
              <a:solidFill>
                <a:srgbClr val="FFFFFF"/>
              </a:solidFill>
              <a:latin typeface="+mj-lt"/>
            </a:endParaRPr>
          </a:p>
        </p:txBody>
      </p:sp>
      <p:sp>
        <p:nvSpPr>
          <p:cNvPr id="230" name="Rectangle 229">
            <a:extLst>
              <a:ext uri="{FF2B5EF4-FFF2-40B4-BE49-F238E27FC236}">
                <a16:creationId xmlns:a16="http://schemas.microsoft.com/office/drawing/2014/main" id="{003C150C-5B40-96AA-39A5-6E55D51FCE64}"/>
              </a:ext>
            </a:extLst>
          </p:cNvPr>
          <p:cNvSpPr/>
          <p:nvPr/>
        </p:nvSpPr>
        <p:spPr>
          <a:xfrm>
            <a:off x="3929569" y="1395713"/>
            <a:ext cx="2780255" cy="264412"/>
          </a:xfrm>
          <a:prstGeom prst="rect">
            <a:avLst/>
          </a:prstGeom>
          <a:solidFill>
            <a:schemeClr val="bg1">
              <a:lumMod val="5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algn="ctr"/>
            <a:r>
              <a:rPr lang="en-AU" sz="1400" b="1">
                <a:solidFill>
                  <a:srgbClr val="FFFFFF"/>
                </a:solidFill>
                <a:latin typeface="+mj-lt"/>
              </a:rPr>
              <a:t>By injury types</a:t>
            </a:r>
          </a:p>
        </p:txBody>
      </p:sp>
      <p:sp>
        <p:nvSpPr>
          <p:cNvPr id="231" name="Rectangle 230">
            <a:extLst>
              <a:ext uri="{FF2B5EF4-FFF2-40B4-BE49-F238E27FC236}">
                <a16:creationId xmlns:a16="http://schemas.microsoft.com/office/drawing/2014/main" id="{98215066-05B8-18E9-DAE0-9A89B5F54BA7}"/>
              </a:ext>
            </a:extLst>
          </p:cNvPr>
          <p:cNvSpPr/>
          <p:nvPr/>
        </p:nvSpPr>
        <p:spPr>
          <a:xfrm>
            <a:off x="433734" y="1383744"/>
            <a:ext cx="3384000" cy="256437"/>
          </a:xfrm>
          <a:prstGeom prst="rect">
            <a:avLst/>
          </a:prstGeom>
          <a:solidFill>
            <a:schemeClr val="bg1">
              <a:lumMod val="5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algn="ctr"/>
            <a:r>
              <a:rPr lang="en-AU" sz="1400" b="1" dirty="0">
                <a:solidFill>
                  <a:srgbClr val="FFFFFF"/>
                </a:solidFill>
                <a:latin typeface="+mj-lt"/>
              </a:rPr>
              <a:t>By injury locations</a:t>
            </a:r>
          </a:p>
        </p:txBody>
      </p:sp>
      <p:sp>
        <p:nvSpPr>
          <p:cNvPr id="232" name="Rectangle 231">
            <a:extLst>
              <a:ext uri="{FF2B5EF4-FFF2-40B4-BE49-F238E27FC236}">
                <a16:creationId xmlns:a16="http://schemas.microsoft.com/office/drawing/2014/main" id="{03B40AF6-C7FE-3A02-AEBB-4E3EB8B852B4}"/>
              </a:ext>
            </a:extLst>
          </p:cNvPr>
          <p:cNvSpPr/>
          <p:nvPr/>
        </p:nvSpPr>
        <p:spPr>
          <a:xfrm rot="5400000">
            <a:off x="2449999" y="3221832"/>
            <a:ext cx="2853257" cy="45719"/>
          </a:xfrm>
          <a:prstGeom prst="rect">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algn="ctr"/>
            <a:endParaRPr lang="en-AU" sz="1000" b="1">
              <a:solidFill>
                <a:srgbClr val="FFFFFF"/>
              </a:solidFill>
              <a:latin typeface="+mj-lt"/>
            </a:endParaRPr>
          </a:p>
        </p:txBody>
      </p:sp>
      <p:grpSp>
        <p:nvGrpSpPr>
          <p:cNvPr id="433" name="Group 432">
            <a:extLst>
              <a:ext uri="{FF2B5EF4-FFF2-40B4-BE49-F238E27FC236}">
                <a16:creationId xmlns:a16="http://schemas.microsoft.com/office/drawing/2014/main" id="{C4781B75-8D84-EF0A-D5E6-4ADFAF1726B6}"/>
              </a:ext>
            </a:extLst>
          </p:cNvPr>
          <p:cNvGrpSpPr/>
          <p:nvPr/>
        </p:nvGrpSpPr>
        <p:grpSpPr>
          <a:xfrm>
            <a:off x="6759910" y="1140009"/>
            <a:ext cx="421118" cy="3484375"/>
            <a:chOff x="6759910" y="1140009"/>
            <a:chExt cx="421118" cy="2746941"/>
          </a:xfrm>
        </p:grpSpPr>
        <p:sp>
          <p:nvSpPr>
            <p:cNvPr id="234" name="Arrow: Pentagon 233">
              <a:extLst>
                <a:ext uri="{FF2B5EF4-FFF2-40B4-BE49-F238E27FC236}">
                  <a16:creationId xmlns:a16="http://schemas.microsoft.com/office/drawing/2014/main" id="{BB2AA3E3-D904-B8E4-11CF-DF34E66DFC3B}"/>
                </a:ext>
              </a:extLst>
            </p:cNvPr>
            <p:cNvSpPr/>
            <p:nvPr/>
          </p:nvSpPr>
          <p:spPr>
            <a:xfrm>
              <a:off x="6759910" y="1389399"/>
              <a:ext cx="421118" cy="2295694"/>
            </a:xfrm>
            <a:prstGeom prst="homePlate">
              <a:avLst>
                <a:gd name="adj" fmla="val 34095"/>
              </a:avLst>
            </a:prstGeom>
            <a:solidFill>
              <a:schemeClr val="tx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900">
                <a:solidFill>
                  <a:schemeClr val="tx1"/>
                </a:solidFill>
                <a:latin typeface="EYInterstate Light" panose="02000506000000020004" pitchFamily="2" charset="0"/>
              </a:endParaRPr>
            </a:p>
          </p:txBody>
        </p:sp>
        <p:sp>
          <p:nvSpPr>
            <p:cNvPr id="235" name="Rectangle 234">
              <a:extLst>
                <a:ext uri="{FF2B5EF4-FFF2-40B4-BE49-F238E27FC236}">
                  <a16:creationId xmlns:a16="http://schemas.microsoft.com/office/drawing/2014/main" id="{50AD99EE-58B9-4E8A-A796-8871C0BDAE5F}"/>
                </a:ext>
              </a:extLst>
            </p:cNvPr>
            <p:cNvSpPr/>
            <p:nvPr/>
          </p:nvSpPr>
          <p:spPr>
            <a:xfrm>
              <a:off x="6793153" y="1140009"/>
              <a:ext cx="184666" cy="274694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200" dirty="0">
                  <a:solidFill>
                    <a:schemeClr val="tx1"/>
                  </a:solidFill>
                  <a:latin typeface="+mj-lt"/>
                </a:rPr>
                <a:t>Conversion to NSW CTP claim type</a:t>
              </a:r>
            </a:p>
          </p:txBody>
        </p:sp>
      </p:grpSp>
      <p:pic>
        <p:nvPicPr>
          <p:cNvPr id="237" name="Picture 236">
            <a:extLst>
              <a:ext uri="{FF2B5EF4-FFF2-40B4-BE49-F238E27FC236}">
                <a16:creationId xmlns:a16="http://schemas.microsoft.com/office/drawing/2014/main" id="{636F6F4F-A877-657B-DBEE-31C0749FB05E}"/>
              </a:ext>
            </a:extLst>
          </p:cNvPr>
          <p:cNvPicPr>
            <a:picLocks noChangeAspect="1"/>
          </p:cNvPicPr>
          <p:nvPr/>
        </p:nvPicPr>
        <p:blipFill>
          <a:blip r:embed="rId10"/>
          <a:stretch>
            <a:fillRect/>
          </a:stretch>
        </p:blipFill>
        <p:spPr>
          <a:xfrm>
            <a:off x="3884845" y="2775713"/>
            <a:ext cx="499923" cy="509143"/>
          </a:xfrm>
          <a:prstGeom prst="rect">
            <a:avLst/>
          </a:prstGeom>
        </p:spPr>
      </p:pic>
      <p:grpSp>
        <p:nvGrpSpPr>
          <p:cNvPr id="238" name="Group 237">
            <a:extLst>
              <a:ext uri="{FF2B5EF4-FFF2-40B4-BE49-F238E27FC236}">
                <a16:creationId xmlns:a16="http://schemas.microsoft.com/office/drawing/2014/main" id="{35EAEF99-5D03-C621-8638-513C180B4164}"/>
              </a:ext>
            </a:extLst>
          </p:cNvPr>
          <p:cNvGrpSpPr/>
          <p:nvPr/>
        </p:nvGrpSpPr>
        <p:grpSpPr>
          <a:xfrm>
            <a:off x="4291663" y="1713977"/>
            <a:ext cx="2374874" cy="3574377"/>
            <a:chOff x="4267220" y="3370362"/>
            <a:chExt cx="2488290" cy="3085506"/>
          </a:xfrm>
        </p:grpSpPr>
        <p:sp>
          <p:nvSpPr>
            <p:cNvPr id="242" name="TextBox 241">
              <a:extLst>
                <a:ext uri="{FF2B5EF4-FFF2-40B4-BE49-F238E27FC236}">
                  <a16:creationId xmlns:a16="http://schemas.microsoft.com/office/drawing/2014/main" id="{F01522CE-752E-C348-0BF3-9ED97AB41B7E}"/>
                </a:ext>
              </a:extLst>
            </p:cNvPr>
            <p:cNvSpPr txBox="1"/>
            <p:nvPr/>
          </p:nvSpPr>
          <p:spPr>
            <a:xfrm>
              <a:off x="4318917" y="3485677"/>
              <a:ext cx="807548" cy="555307"/>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AU" sz="1200" b="1" dirty="0">
                  <a:solidFill>
                    <a:schemeClr val="tx2"/>
                  </a:solidFill>
                  <a:latin typeface="+mj-lt"/>
                </a:rPr>
                <a:t>Brain and traumatic injury</a:t>
              </a:r>
            </a:p>
          </p:txBody>
        </p:sp>
        <p:sp>
          <p:nvSpPr>
            <p:cNvPr id="243" name="TextBox 242">
              <a:extLst>
                <a:ext uri="{FF2B5EF4-FFF2-40B4-BE49-F238E27FC236}">
                  <a16:creationId xmlns:a16="http://schemas.microsoft.com/office/drawing/2014/main" id="{04C2B365-C70A-1746-5DA3-D5DA5FA27796}"/>
                </a:ext>
              </a:extLst>
            </p:cNvPr>
            <p:cNvSpPr txBox="1"/>
            <p:nvPr/>
          </p:nvSpPr>
          <p:spPr>
            <a:xfrm>
              <a:off x="4267220" y="4306882"/>
              <a:ext cx="773583" cy="555307"/>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AU" sz="1200" b="1" dirty="0">
                  <a:solidFill>
                    <a:schemeClr val="tx2"/>
                  </a:solidFill>
                  <a:latin typeface="+mj-lt"/>
                </a:rPr>
                <a:t>Fracture and dislocation</a:t>
              </a:r>
            </a:p>
          </p:txBody>
        </p:sp>
        <p:sp>
          <p:nvSpPr>
            <p:cNvPr id="245" name="TextBox 244">
              <a:extLst>
                <a:ext uri="{FF2B5EF4-FFF2-40B4-BE49-F238E27FC236}">
                  <a16:creationId xmlns:a16="http://schemas.microsoft.com/office/drawing/2014/main" id="{C358A5E3-C8D4-5886-B20D-0306470208A5}"/>
                </a:ext>
              </a:extLst>
            </p:cNvPr>
            <p:cNvSpPr txBox="1"/>
            <p:nvPr/>
          </p:nvSpPr>
          <p:spPr>
            <a:xfrm>
              <a:off x="4408089" y="5875950"/>
              <a:ext cx="629204" cy="384142"/>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AU" sz="1200" b="1" dirty="0">
                  <a:solidFill>
                    <a:schemeClr val="tx2"/>
                  </a:solidFill>
                  <a:latin typeface="+mj-lt"/>
                </a:rPr>
                <a:t>Soft tissue</a:t>
              </a:r>
            </a:p>
          </p:txBody>
        </p:sp>
        <p:sp>
          <p:nvSpPr>
            <p:cNvPr id="318" name="Rectangle 317">
              <a:extLst>
                <a:ext uri="{FF2B5EF4-FFF2-40B4-BE49-F238E27FC236}">
                  <a16:creationId xmlns:a16="http://schemas.microsoft.com/office/drawing/2014/main" id="{5C258A74-697D-6766-15F4-2B651D9CD777}"/>
                </a:ext>
              </a:extLst>
            </p:cNvPr>
            <p:cNvSpPr/>
            <p:nvPr/>
          </p:nvSpPr>
          <p:spPr>
            <a:xfrm>
              <a:off x="5276206" y="3692529"/>
              <a:ext cx="35101" cy="33239"/>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a:solidFill>
                  <a:schemeClr val="tx1"/>
                </a:solidFill>
                <a:latin typeface="+mj-lt"/>
              </a:endParaRPr>
            </a:p>
          </p:txBody>
        </p:sp>
        <p:pic>
          <p:nvPicPr>
            <p:cNvPr id="247" name="Graphic 246" descr="Tricycle with solid fill">
              <a:extLst>
                <a:ext uri="{FF2B5EF4-FFF2-40B4-BE49-F238E27FC236}">
                  <a16:creationId xmlns:a16="http://schemas.microsoft.com/office/drawing/2014/main" id="{80FD2314-D78C-20A5-071C-8AC11C9CA43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058924" y="3370362"/>
              <a:ext cx="360000" cy="360000"/>
            </a:xfrm>
            <a:prstGeom prst="rect">
              <a:avLst/>
            </a:prstGeom>
          </p:spPr>
        </p:pic>
        <p:sp>
          <p:nvSpPr>
            <p:cNvPr id="248" name="Rectangle 247">
              <a:extLst>
                <a:ext uri="{FF2B5EF4-FFF2-40B4-BE49-F238E27FC236}">
                  <a16:creationId xmlns:a16="http://schemas.microsoft.com/office/drawing/2014/main" id="{D989C163-8AB0-D1C5-EECB-46DEC80C71D2}"/>
                </a:ext>
              </a:extLst>
            </p:cNvPr>
            <p:cNvSpPr/>
            <p:nvPr/>
          </p:nvSpPr>
          <p:spPr>
            <a:xfrm>
              <a:off x="5424885" y="3449864"/>
              <a:ext cx="457931" cy="2349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a:solidFill>
                    <a:schemeClr val="accent5">
                      <a:lumMod val="60000"/>
                      <a:lumOff val="40000"/>
                    </a:schemeClr>
                  </a:solidFill>
                  <a:latin typeface="+mj-lt"/>
                </a:rPr>
                <a:t>8%</a:t>
              </a:r>
            </a:p>
          </p:txBody>
        </p:sp>
        <p:sp>
          <p:nvSpPr>
            <p:cNvPr id="249" name="Rectangle 248">
              <a:extLst>
                <a:ext uri="{FF2B5EF4-FFF2-40B4-BE49-F238E27FC236}">
                  <a16:creationId xmlns:a16="http://schemas.microsoft.com/office/drawing/2014/main" id="{448C86E4-8336-EA98-1919-9B064203E00D}"/>
                </a:ext>
              </a:extLst>
            </p:cNvPr>
            <p:cNvSpPr/>
            <p:nvPr/>
          </p:nvSpPr>
          <p:spPr>
            <a:xfrm>
              <a:off x="5388635" y="3762490"/>
              <a:ext cx="530431" cy="18597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dirty="0">
                  <a:solidFill>
                    <a:srgbClr val="385CD7"/>
                  </a:solidFill>
                  <a:latin typeface="+mj-lt"/>
                </a:rPr>
                <a:t>10%</a:t>
              </a:r>
            </a:p>
          </p:txBody>
        </p:sp>
        <p:pic>
          <p:nvPicPr>
            <p:cNvPr id="250" name="Graphic 249" descr="Motorcycle with solid fill">
              <a:extLst>
                <a:ext uri="{FF2B5EF4-FFF2-40B4-BE49-F238E27FC236}">
                  <a16:creationId xmlns:a16="http://schemas.microsoft.com/office/drawing/2014/main" id="{5AE0A7CB-557B-9155-5D61-2F62370E067E}"/>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935966" y="3375427"/>
              <a:ext cx="360000" cy="360000"/>
            </a:xfrm>
            <a:prstGeom prst="rect">
              <a:avLst/>
            </a:prstGeom>
          </p:spPr>
        </p:pic>
        <p:pic>
          <p:nvPicPr>
            <p:cNvPr id="251" name="Graphic 250" descr="Car with solid fill">
              <a:extLst>
                <a:ext uri="{FF2B5EF4-FFF2-40B4-BE49-F238E27FC236}">
                  <a16:creationId xmlns:a16="http://schemas.microsoft.com/office/drawing/2014/main" id="{B04570F2-9B42-A7AB-B2D9-61E38F911AF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924044" y="3710401"/>
              <a:ext cx="360000" cy="360000"/>
            </a:xfrm>
            <a:prstGeom prst="rect">
              <a:avLst/>
            </a:prstGeom>
          </p:spPr>
        </p:pic>
        <p:sp>
          <p:nvSpPr>
            <p:cNvPr id="252" name="Rectangle 251">
              <a:extLst>
                <a:ext uri="{FF2B5EF4-FFF2-40B4-BE49-F238E27FC236}">
                  <a16:creationId xmlns:a16="http://schemas.microsoft.com/office/drawing/2014/main" id="{BC5D32DC-4812-E5C8-2562-14F66DFB4B6E}"/>
                </a:ext>
              </a:extLst>
            </p:cNvPr>
            <p:cNvSpPr/>
            <p:nvPr/>
          </p:nvSpPr>
          <p:spPr>
            <a:xfrm>
              <a:off x="6260847" y="3443290"/>
              <a:ext cx="457931" cy="2349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dirty="0">
                  <a:solidFill>
                    <a:schemeClr val="accent6"/>
                  </a:solidFill>
                  <a:latin typeface="+mj-lt"/>
                </a:rPr>
                <a:t>22%</a:t>
              </a:r>
            </a:p>
          </p:txBody>
        </p:sp>
        <p:sp>
          <p:nvSpPr>
            <p:cNvPr id="253" name="Rectangle 252">
              <a:extLst>
                <a:ext uri="{FF2B5EF4-FFF2-40B4-BE49-F238E27FC236}">
                  <a16:creationId xmlns:a16="http://schemas.microsoft.com/office/drawing/2014/main" id="{9551413F-40C0-B28B-F32A-9BFB4E0C9462}"/>
                </a:ext>
              </a:extLst>
            </p:cNvPr>
            <p:cNvSpPr/>
            <p:nvPr/>
          </p:nvSpPr>
          <p:spPr>
            <a:xfrm>
              <a:off x="6260847" y="3759734"/>
              <a:ext cx="457931" cy="2349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a:solidFill>
                    <a:srgbClr val="0070C0"/>
                  </a:solidFill>
                  <a:latin typeface="+mj-lt"/>
                </a:rPr>
                <a:t>17%</a:t>
              </a:r>
            </a:p>
          </p:txBody>
        </p:sp>
        <p:cxnSp>
          <p:nvCxnSpPr>
            <p:cNvPr id="254" name="Straight Connector 253">
              <a:extLst>
                <a:ext uri="{FF2B5EF4-FFF2-40B4-BE49-F238E27FC236}">
                  <a16:creationId xmlns:a16="http://schemas.microsoft.com/office/drawing/2014/main" id="{1CD53647-436B-64CA-6CCA-C6E5B52073B0}"/>
                </a:ext>
              </a:extLst>
            </p:cNvPr>
            <p:cNvCxnSpPr>
              <a:cxnSpLocks/>
            </p:cNvCxnSpPr>
            <p:nvPr/>
          </p:nvCxnSpPr>
          <p:spPr>
            <a:xfrm flipV="1">
              <a:off x="5088595" y="4083782"/>
              <a:ext cx="1509685" cy="2364"/>
            </a:xfrm>
            <a:prstGeom prst="line">
              <a:avLst/>
            </a:prstGeom>
            <a:ln w="12700">
              <a:solidFill>
                <a:schemeClr val="tx2">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sp>
          <p:nvSpPr>
            <p:cNvPr id="297" name="Rectangle 296">
              <a:extLst>
                <a:ext uri="{FF2B5EF4-FFF2-40B4-BE49-F238E27FC236}">
                  <a16:creationId xmlns:a16="http://schemas.microsoft.com/office/drawing/2014/main" id="{BB060D2C-BB98-42D3-C091-EB87030B0E25}"/>
                </a:ext>
              </a:extLst>
            </p:cNvPr>
            <p:cNvSpPr/>
            <p:nvPr/>
          </p:nvSpPr>
          <p:spPr>
            <a:xfrm>
              <a:off x="5288129" y="4489574"/>
              <a:ext cx="35101" cy="33239"/>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a:solidFill>
                  <a:schemeClr val="tx1"/>
                </a:solidFill>
                <a:latin typeface="+mj-lt"/>
              </a:endParaRPr>
            </a:p>
          </p:txBody>
        </p:sp>
        <p:pic>
          <p:nvPicPr>
            <p:cNvPr id="256" name="Graphic 255" descr="Tricycle with solid fill">
              <a:extLst>
                <a:ext uri="{FF2B5EF4-FFF2-40B4-BE49-F238E27FC236}">
                  <a16:creationId xmlns:a16="http://schemas.microsoft.com/office/drawing/2014/main" id="{E88A3F83-5AE0-41E6-A62D-659796E5AF0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063785" y="4174360"/>
              <a:ext cx="360000" cy="360000"/>
            </a:xfrm>
            <a:prstGeom prst="rect">
              <a:avLst/>
            </a:prstGeom>
          </p:spPr>
        </p:pic>
        <p:sp>
          <p:nvSpPr>
            <p:cNvPr id="257" name="Rectangle 256">
              <a:extLst>
                <a:ext uri="{FF2B5EF4-FFF2-40B4-BE49-F238E27FC236}">
                  <a16:creationId xmlns:a16="http://schemas.microsoft.com/office/drawing/2014/main" id="{A6A8A584-C77A-7B7C-2F6F-CA10186FD2BD}"/>
                </a:ext>
              </a:extLst>
            </p:cNvPr>
            <p:cNvSpPr/>
            <p:nvPr/>
          </p:nvSpPr>
          <p:spPr>
            <a:xfrm>
              <a:off x="5436807" y="4246908"/>
              <a:ext cx="457931" cy="2349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dirty="0">
                  <a:solidFill>
                    <a:schemeClr val="accent5">
                      <a:lumMod val="60000"/>
                      <a:lumOff val="40000"/>
                    </a:schemeClr>
                  </a:solidFill>
                  <a:latin typeface="+mj-lt"/>
                </a:rPr>
                <a:t>54%</a:t>
              </a:r>
            </a:p>
          </p:txBody>
        </p:sp>
        <p:sp>
          <p:nvSpPr>
            <p:cNvPr id="258" name="Rectangle 257">
              <a:extLst>
                <a:ext uri="{FF2B5EF4-FFF2-40B4-BE49-F238E27FC236}">
                  <a16:creationId xmlns:a16="http://schemas.microsoft.com/office/drawing/2014/main" id="{D1C16086-B121-AF7D-0A28-3E37251A546E}"/>
                </a:ext>
              </a:extLst>
            </p:cNvPr>
            <p:cNvSpPr/>
            <p:nvPr/>
          </p:nvSpPr>
          <p:spPr>
            <a:xfrm>
              <a:off x="5400558" y="4559534"/>
              <a:ext cx="530431" cy="18597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dirty="0">
                  <a:solidFill>
                    <a:srgbClr val="385CD7"/>
                  </a:solidFill>
                  <a:latin typeface="+mj-lt"/>
                </a:rPr>
                <a:t>31%</a:t>
              </a:r>
            </a:p>
          </p:txBody>
        </p:sp>
        <p:pic>
          <p:nvPicPr>
            <p:cNvPr id="259" name="Graphic 258" descr="Motorcycle with solid fill">
              <a:extLst>
                <a:ext uri="{FF2B5EF4-FFF2-40B4-BE49-F238E27FC236}">
                  <a16:creationId xmlns:a16="http://schemas.microsoft.com/office/drawing/2014/main" id="{0668046D-7A62-BB04-DEED-089BB872DB3A}"/>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935966" y="4170734"/>
              <a:ext cx="360000" cy="360000"/>
            </a:xfrm>
            <a:prstGeom prst="rect">
              <a:avLst/>
            </a:prstGeom>
          </p:spPr>
        </p:pic>
        <p:pic>
          <p:nvPicPr>
            <p:cNvPr id="260" name="Graphic 259" descr="Car with solid fill">
              <a:extLst>
                <a:ext uri="{FF2B5EF4-FFF2-40B4-BE49-F238E27FC236}">
                  <a16:creationId xmlns:a16="http://schemas.microsoft.com/office/drawing/2014/main" id="{BBE6E64C-F340-D412-5561-CD45AFCEF0D5}"/>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935966" y="4507445"/>
              <a:ext cx="360000" cy="360000"/>
            </a:xfrm>
            <a:prstGeom prst="rect">
              <a:avLst/>
            </a:prstGeom>
          </p:spPr>
        </p:pic>
        <p:sp>
          <p:nvSpPr>
            <p:cNvPr id="261" name="Rectangle 260">
              <a:extLst>
                <a:ext uri="{FF2B5EF4-FFF2-40B4-BE49-F238E27FC236}">
                  <a16:creationId xmlns:a16="http://schemas.microsoft.com/office/drawing/2014/main" id="{F2AB5F8D-311E-2F55-268B-F1E2A662B451}"/>
                </a:ext>
              </a:extLst>
            </p:cNvPr>
            <p:cNvSpPr/>
            <p:nvPr/>
          </p:nvSpPr>
          <p:spPr>
            <a:xfrm>
              <a:off x="6272769" y="4240334"/>
              <a:ext cx="457931" cy="2349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a:solidFill>
                    <a:schemeClr val="accent6"/>
                  </a:solidFill>
                  <a:latin typeface="+mj-lt"/>
                </a:rPr>
                <a:t>38%</a:t>
              </a:r>
            </a:p>
          </p:txBody>
        </p:sp>
        <p:sp>
          <p:nvSpPr>
            <p:cNvPr id="262" name="Rectangle 261">
              <a:extLst>
                <a:ext uri="{FF2B5EF4-FFF2-40B4-BE49-F238E27FC236}">
                  <a16:creationId xmlns:a16="http://schemas.microsoft.com/office/drawing/2014/main" id="{A3D8F8A6-7940-AF6E-632A-1945F5A46B8F}"/>
                </a:ext>
              </a:extLst>
            </p:cNvPr>
            <p:cNvSpPr/>
            <p:nvPr/>
          </p:nvSpPr>
          <p:spPr>
            <a:xfrm>
              <a:off x="6272769" y="4556778"/>
              <a:ext cx="457931" cy="2349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a:solidFill>
                    <a:srgbClr val="0070C0"/>
                  </a:solidFill>
                  <a:latin typeface="+mj-lt"/>
                </a:rPr>
                <a:t>14%</a:t>
              </a:r>
            </a:p>
          </p:txBody>
        </p:sp>
        <p:cxnSp>
          <p:nvCxnSpPr>
            <p:cNvPr id="263" name="Straight Connector 262">
              <a:extLst>
                <a:ext uri="{FF2B5EF4-FFF2-40B4-BE49-F238E27FC236}">
                  <a16:creationId xmlns:a16="http://schemas.microsoft.com/office/drawing/2014/main" id="{075025C9-F496-EB9F-5BD4-157E65CE26C0}"/>
                </a:ext>
              </a:extLst>
            </p:cNvPr>
            <p:cNvCxnSpPr>
              <a:cxnSpLocks/>
            </p:cNvCxnSpPr>
            <p:nvPr/>
          </p:nvCxnSpPr>
          <p:spPr>
            <a:xfrm flipV="1">
              <a:off x="5100517" y="4880826"/>
              <a:ext cx="1509685" cy="2364"/>
            </a:xfrm>
            <a:prstGeom prst="line">
              <a:avLst/>
            </a:prstGeom>
            <a:ln w="12700">
              <a:solidFill>
                <a:schemeClr val="tx2">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pic>
          <p:nvPicPr>
            <p:cNvPr id="265" name="Graphic 264" descr="Tricycle with solid fill">
              <a:extLst>
                <a:ext uri="{FF2B5EF4-FFF2-40B4-BE49-F238E27FC236}">
                  <a16:creationId xmlns:a16="http://schemas.microsoft.com/office/drawing/2014/main" id="{13722F38-A0E1-DEF4-151E-8CF2AD78DE1B}"/>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079582" y="5005633"/>
              <a:ext cx="360000" cy="360000"/>
            </a:xfrm>
            <a:prstGeom prst="rect">
              <a:avLst/>
            </a:prstGeom>
          </p:spPr>
        </p:pic>
        <p:sp>
          <p:nvSpPr>
            <p:cNvPr id="266" name="Rectangle 265">
              <a:extLst>
                <a:ext uri="{FF2B5EF4-FFF2-40B4-BE49-F238E27FC236}">
                  <a16:creationId xmlns:a16="http://schemas.microsoft.com/office/drawing/2014/main" id="{4C5C435B-5134-F326-6EFE-3F9385B155D5}"/>
                </a:ext>
              </a:extLst>
            </p:cNvPr>
            <p:cNvSpPr/>
            <p:nvPr/>
          </p:nvSpPr>
          <p:spPr>
            <a:xfrm>
              <a:off x="5452604" y="5078181"/>
              <a:ext cx="457931" cy="2349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dirty="0">
                  <a:solidFill>
                    <a:schemeClr val="accent5">
                      <a:lumMod val="60000"/>
                      <a:lumOff val="40000"/>
                    </a:schemeClr>
                  </a:solidFill>
                  <a:latin typeface="+mj-lt"/>
                </a:rPr>
                <a:t>12%</a:t>
              </a:r>
            </a:p>
          </p:txBody>
        </p:sp>
        <p:sp>
          <p:nvSpPr>
            <p:cNvPr id="267" name="Rectangle 266">
              <a:extLst>
                <a:ext uri="{FF2B5EF4-FFF2-40B4-BE49-F238E27FC236}">
                  <a16:creationId xmlns:a16="http://schemas.microsoft.com/office/drawing/2014/main" id="{A9D4C59B-44C7-5916-9B6B-722126CCD4C3}"/>
                </a:ext>
              </a:extLst>
            </p:cNvPr>
            <p:cNvSpPr/>
            <p:nvPr/>
          </p:nvSpPr>
          <p:spPr>
            <a:xfrm>
              <a:off x="5416353" y="5390807"/>
              <a:ext cx="530431" cy="18597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dirty="0">
                  <a:solidFill>
                    <a:srgbClr val="385CD7"/>
                  </a:solidFill>
                  <a:latin typeface="+mj-lt"/>
                </a:rPr>
                <a:t>26%</a:t>
              </a:r>
            </a:p>
          </p:txBody>
        </p:sp>
        <p:pic>
          <p:nvPicPr>
            <p:cNvPr id="268" name="Graphic 267" descr="Motorcycle with solid fill">
              <a:extLst>
                <a:ext uri="{FF2B5EF4-FFF2-40B4-BE49-F238E27FC236}">
                  <a16:creationId xmlns:a16="http://schemas.microsoft.com/office/drawing/2014/main" id="{D0659A72-CD35-20FD-C930-93473E252555}"/>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951763" y="5002007"/>
              <a:ext cx="360000" cy="360000"/>
            </a:xfrm>
            <a:prstGeom prst="rect">
              <a:avLst/>
            </a:prstGeom>
          </p:spPr>
        </p:pic>
        <p:pic>
          <p:nvPicPr>
            <p:cNvPr id="269" name="Graphic 268" descr="Car with solid fill">
              <a:extLst>
                <a:ext uri="{FF2B5EF4-FFF2-40B4-BE49-F238E27FC236}">
                  <a16:creationId xmlns:a16="http://schemas.microsoft.com/office/drawing/2014/main" id="{EFCE0F6F-41FB-3D03-DA40-04B98895C5E9}"/>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951763" y="5338718"/>
              <a:ext cx="360000" cy="360000"/>
            </a:xfrm>
            <a:prstGeom prst="rect">
              <a:avLst/>
            </a:prstGeom>
          </p:spPr>
        </p:pic>
        <p:sp>
          <p:nvSpPr>
            <p:cNvPr id="270" name="Rectangle 269">
              <a:extLst>
                <a:ext uri="{FF2B5EF4-FFF2-40B4-BE49-F238E27FC236}">
                  <a16:creationId xmlns:a16="http://schemas.microsoft.com/office/drawing/2014/main" id="{206E5985-BB7B-638E-C3F6-328B7AB2E05E}"/>
                </a:ext>
              </a:extLst>
            </p:cNvPr>
            <p:cNvSpPr/>
            <p:nvPr/>
          </p:nvSpPr>
          <p:spPr>
            <a:xfrm>
              <a:off x="6288566" y="5071608"/>
              <a:ext cx="457931" cy="2349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a:solidFill>
                    <a:schemeClr val="accent6"/>
                  </a:solidFill>
                  <a:latin typeface="+mj-lt"/>
                </a:rPr>
                <a:t>11%</a:t>
              </a:r>
            </a:p>
          </p:txBody>
        </p:sp>
        <p:sp>
          <p:nvSpPr>
            <p:cNvPr id="272" name="Rectangle 271">
              <a:extLst>
                <a:ext uri="{FF2B5EF4-FFF2-40B4-BE49-F238E27FC236}">
                  <a16:creationId xmlns:a16="http://schemas.microsoft.com/office/drawing/2014/main" id="{831A0688-C7FC-4CEE-3996-F76901E51DD4}"/>
                </a:ext>
              </a:extLst>
            </p:cNvPr>
            <p:cNvSpPr/>
            <p:nvPr/>
          </p:nvSpPr>
          <p:spPr>
            <a:xfrm>
              <a:off x="6288566" y="5388051"/>
              <a:ext cx="457931" cy="2349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a:solidFill>
                    <a:srgbClr val="0070C0"/>
                  </a:solidFill>
                  <a:latin typeface="+mj-lt"/>
                </a:rPr>
                <a:t>15%</a:t>
              </a:r>
            </a:p>
          </p:txBody>
        </p:sp>
        <p:cxnSp>
          <p:nvCxnSpPr>
            <p:cNvPr id="273" name="Straight Connector 272">
              <a:extLst>
                <a:ext uri="{FF2B5EF4-FFF2-40B4-BE49-F238E27FC236}">
                  <a16:creationId xmlns:a16="http://schemas.microsoft.com/office/drawing/2014/main" id="{E43DFCD4-002E-0EE1-51A0-A4A7EE7710F2}"/>
                </a:ext>
              </a:extLst>
            </p:cNvPr>
            <p:cNvCxnSpPr>
              <a:cxnSpLocks/>
            </p:cNvCxnSpPr>
            <p:nvPr/>
          </p:nvCxnSpPr>
          <p:spPr>
            <a:xfrm flipV="1">
              <a:off x="5116314" y="5712099"/>
              <a:ext cx="1509685" cy="2364"/>
            </a:xfrm>
            <a:prstGeom prst="line">
              <a:avLst/>
            </a:prstGeom>
            <a:ln w="12700">
              <a:solidFill>
                <a:schemeClr val="tx2">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pic>
          <p:nvPicPr>
            <p:cNvPr id="275" name="Graphic 274" descr="Tricycle with solid fill">
              <a:extLst>
                <a:ext uri="{FF2B5EF4-FFF2-40B4-BE49-F238E27FC236}">
                  <a16:creationId xmlns:a16="http://schemas.microsoft.com/office/drawing/2014/main" id="{A8DD3AC9-3214-E57A-3B7B-8C2C985DF51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088595" y="5743340"/>
              <a:ext cx="360000" cy="360000"/>
            </a:xfrm>
            <a:prstGeom prst="rect">
              <a:avLst/>
            </a:prstGeom>
          </p:spPr>
        </p:pic>
        <p:sp>
          <p:nvSpPr>
            <p:cNvPr id="276" name="Rectangle 275">
              <a:extLst>
                <a:ext uri="{FF2B5EF4-FFF2-40B4-BE49-F238E27FC236}">
                  <a16:creationId xmlns:a16="http://schemas.microsoft.com/office/drawing/2014/main" id="{B6CBD8CD-752A-992A-97C9-5132A9162A9E}"/>
                </a:ext>
              </a:extLst>
            </p:cNvPr>
            <p:cNvSpPr/>
            <p:nvPr/>
          </p:nvSpPr>
          <p:spPr>
            <a:xfrm>
              <a:off x="5461617" y="5815887"/>
              <a:ext cx="457931" cy="2349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a:solidFill>
                    <a:schemeClr val="accent5">
                      <a:lumMod val="60000"/>
                      <a:lumOff val="40000"/>
                    </a:schemeClr>
                  </a:solidFill>
                  <a:latin typeface="+mj-lt"/>
                </a:rPr>
                <a:t>26%</a:t>
              </a:r>
            </a:p>
          </p:txBody>
        </p:sp>
        <p:sp>
          <p:nvSpPr>
            <p:cNvPr id="277" name="Rectangle 276">
              <a:extLst>
                <a:ext uri="{FF2B5EF4-FFF2-40B4-BE49-F238E27FC236}">
                  <a16:creationId xmlns:a16="http://schemas.microsoft.com/office/drawing/2014/main" id="{48695076-60A8-13C4-D889-5BF265319525}"/>
                </a:ext>
              </a:extLst>
            </p:cNvPr>
            <p:cNvSpPr/>
            <p:nvPr/>
          </p:nvSpPr>
          <p:spPr>
            <a:xfrm>
              <a:off x="5425367" y="6128514"/>
              <a:ext cx="530431" cy="2349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dirty="0">
                  <a:solidFill>
                    <a:srgbClr val="385CD7"/>
                  </a:solidFill>
                  <a:latin typeface="+mj-lt"/>
                </a:rPr>
                <a:t>33%</a:t>
              </a:r>
            </a:p>
          </p:txBody>
        </p:sp>
        <p:pic>
          <p:nvPicPr>
            <p:cNvPr id="278" name="Graphic 277" descr="Motorcycle with solid fill">
              <a:extLst>
                <a:ext uri="{FF2B5EF4-FFF2-40B4-BE49-F238E27FC236}">
                  <a16:creationId xmlns:a16="http://schemas.microsoft.com/office/drawing/2014/main" id="{6ABFC36D-ADC3-A4AB-0092-87E686AFF162}"/>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960776" y="5739714"/>
              <a:ext cx="360000" cy="360000"/>
            </a:xfrm>
            <a:prstGeom prst="rect">
              <a:avLst/>
            </a:prstGeom>
          </p:spPr>
        </p:pic>
        <p:pic>
          <p:nvPicPr>
            <p:cNvPr id="279" name="Graphic 278" descr="Car with solid fill">
              <a:extLst>
                <a:ext uri="{FF2B5EF4-FFF2-40B4-BE49-F238E27FC236}">
                  <a16:creationId xmlns:a16="http://schemas.microsoft.com/office/drawing/2014/main" id="{A3662BC2-2440-E4A4-A156-E5716F1EFCF0}"/>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971731" y="6095868"/>
              <a:ext cx="360000" cy="360000"/>
            </a:xfrm>
            <a:prstGeom prst="rect">
              <a:avLst/>
            </a:prstGeom>
          </p:spPr>
        </p:pic>
        <p:sp>
          <p:nvSpPr>
            <p:cNvPr id="280" name="Rectangle 279">
              <a:extLst>
                <a:ext uri="{FF2B5EF4-FFF2-40B4-BE49-F238E27FC236}">
                  <a16:creationId xmlns:a16="http://schemas.microsoft.com/office/drawing/2014/main" id="{728400B9-118E-7EA7-9E23-1B74DDC65BB6}"/>
                </a:ext>
              </a:extLst>
            </p:cNvPr>
            <p:cNvSpPr/>
            <p:nvPr/>
          </p:nvSpPr>
          <p:spPr>
            <a:xfrm>
              <a:off x="6297579" y="5809314"/>
              <a:ext cx="457931" cy="2349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a:solidFill>
                    <a:schemeClr val="accent6"/>
                  </a:solidFill>
                  <a:latin typeface="+mj-lt"/>
                </a:rPr>
                <a:t>29%</a:t>
              </a:r>
            </a:p>
          </p:txBody>
        </p:sp>
        <p:sp>
          <p:nvSpPr>
            <p:cNvPr id="281" name="Rectangle 280">
              <a:extLst>
                <a:ext uri="{FF2B5EF4-FFF2-40B4-BE49-F238E27FC236}">
                  <a16:creationId xmlns:a16="http://schemas.microsoft.com/office/drawing/2014/main" id="{DA77D3D8-5604-1ECF-4DBE-D443797D0F88}"/>
                </a:ext>
              </a:extLst>
            </p:cNvPr>
            <p:cNvSpPr/>
            <p:nvPr/>
          </p:nvSpPr>
          <p:spPr>
            <a:xfrm>
              <a:off x="6297579" y="6125758"/>
              <a:ext cx="457931" cy="2349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a:solidFill>
                    <a:srgbClr val="0070C0"/>
                  </a:solidFill>
                  <a:latin typeface="+mj-lt"/>
                </a:rPr>
                <a:t>55%</a:t>
              </a:r>
            </a:p>
          </p:txBody>
        </p:sp>
        <p:sp>
          <p:nvSpPr>
            <p:cNvPr id="244" name="TextBox 243">
              <a:extLst>
                <a:ext uri="{FF2B5EF4-FFF2-40B4-BE49-F238E27FC236}">
                  <a16:creationId xmlns:a16="http://schemas.microsoft.com/office/drawing/2014/main" id="{3C4ADE12-DA6B-10DA-43D9-7E7682E40E9F}"/>
                </a:ext>
              </a:extLst>
            </p:cNvPr>
            <p:cNvSpPr txBox="1"/>
            <p:nvPr/>
          </p:nvSpPr>
          <p:spPr>
            <a:xfrm>
              <a:off x="4362438" y="5092836"/>
              <a:ext cx="694759" cy="555307"/>
            </a:xfrm>
            <a:prstGeom prst="rect">
              <a:avLst/>
            </a:prstGeom>
            <a:solidFill>
              <a:schemeClr val="bg1"/>
            </a:solidFill>
          </p:spPr>
          <p:txBody>
            <a:bodyPr wrap="square" lIns="0" tIns="36576" rIns="0" bIns="0" rtlCol="0">
              <a:spAutoFit/>
            </a:bodyPr>
            <a:lstStyle/>
            <a:p>
              <a:pPr algn="ctr">
                <a:lnSpc>
                  <a:spcPct val="85000"/>
                </a:lnSpc>
                <a:spcAft>
                  <a:spcPts val="600"/>
                </a:spcAft>
                <a:buClr>
                  <a:schemeClr val="accent2"/>
                </a:buClr>
                <a:buSzPct val="70000"/>
              </a:pPr>
              <a:r>
                <a:rPr lang="en-AU" sz="1200" b="1" dirty="0">
                  <a:solidFill>
                    <a:schemeClr val="tx2"/>
                  </a:solidFill>
                  <a:latin typeface="+mj-lt"/>
                </a:rPr>
                <a:t>Sprain and Laceration</a:t>
              </a:r>
            </a:p>
          </p:txBody>
        </p:sp>
      </p:grpSp>
      <p:pic>
        <p:nvPicPr>
          <p:cNvPr id="239" name="Graphic 238" descr="Brain in head outline">
            <a:extLst>
              <a:ext uri="{FF2B5EF4-FFF2-40B4-BE49-F238E27FC236}">
                <a16:creationId xmlns:a16="http://schemas.microsoft.com/office/drawing/2014/main" id="{FAADBA8A-8DCF-0D51-921A-3D56E36BFC8F}"/>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002036" y="1896789"/>
            <a:ext cx="363658" cy="363658"/>
          </a:xfrm>
          <a:prstGeom prst="rect">
            <a:avLst/>
          </a:prstGeom>
        </p:spPr>
      </p:pic>
      <p:pic>
        <p:nvPicPr>
          <p:cNvPr id="240" name="Picture 239">
            <a:extLst>
              <a:ext uri="{FF2B5EF4-FFF2-40B4-BE49-F238E27FC236}">
                <a16:creationId xmlns:a16="http://schemas.microsoft.com/office/drawing/2014/main" id="{502D4535-EAB7-FAA3-BDED-73C03D95DB4A}"/>
              </a:ext>
            </a:extLst>
          </p:cNvPr>
          <p:cNvPicPr>
            <a:picLocks noChangeAspect="1"/>
          </p:cNvPicPr>
          <p:nvPr/>
        </p:nvPicPr>
        <p:blipFill>
          <a:blip r:embed="rId19"/>
          <a:stretch>
            <a:fillRect/>
          </a:stretch>
        </p:blipFill>
        <p:spPr>
          <a:xfrm flipH="1">
            <a:off x="3961271" y="3689619"/>
            <a:ext cx="407185" cy="421353"/>
          </a:xfrm>
          <a:prstGeom prst="rect">
            <a:avLst/>
          </a:prstGeom>
        </p:spPr>
      </p:pic>
      <p:pic>
        <p:nvPicPr>
          <p:cNvPr id="241" name="Picture 240">
            <a:extLst>
              <a:ext uri="{FF2B5EF4-FFF2-40B4-BE49-F238E27FC236}">
                <a16:creationId xmlns:a16="http://schemas.microsoft.com/office/drawing/2014/main" id="{D5C70591-B2B0-66F9-EFE5-1E62CAEA6E9B}"/>
              </a:ext>
            </a:extLst>
          </p:cNvPr>
          <p:cNvPicPr>
            <a:picLocks noChangeAspect="1"/>
          </p:cNvPicPr>
          <p:nvPr/>
        </p:nvPicPr>
        <p:blipFill>
          <a:blip r:embed="rId20"/>
          <a:stretch>
            <a:fillRect/>
          </a:stretch>
        </p:blipFill>
        <p:spPr>
          <a:xfrm>
            <a:off x="4043796" y="4624384"/>
            <a:ext cx="340972" cy="311937"/>
          </a:xfrm>
          <a:prstGeom prst="rect">
            <a:avLst/>
          </a:prstGeom>
        </p:spPr>
      </p:pic>
      <p:graphicFrame>
        <p:nvGraphicFramePr>
          <p:cNvPr id="354" name="Chart 353">
            <a:extLst>
              <a:ext uri="{FF2B5EF4-FFF2-40B4-BE49-F238E27FC236}">
                <a16:creationId xmlns:a16="http://schemas.microsoft.com/office/drawing/2014/main" id="{DD2D062C-6E48-ECD4-2635-2313EA633238}"/>
              </a:ext>
            </a:extLst>
          </p:cNvPr>
          <p:cNvGraphicFramePr>
            <a:graphicFrameLocks/>
          </p:cNvGraphicFramePr>
          <p:nvPr>
            <p:extLst>
              <p:ext uri="{D42A27DB-BD31-4B8C-83A1-F6EECF244321}">
                <p14:modId xmlns:p14="http://schemas.microsoft.com/office/powerpoint/2010/main" val="1205727275"/>
              </p:ext>
            </p:extLst>
          </p:nvPr>
        </p:nvGraphicFramePr>
        <p:xfrm>
          <a:off x="7164439" y="1454780"/>
          <a:ext cx="2002210" cy="2164932"/>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355" name="Chart 354">
            <a:extLst>
              <a:ext uri="{FF2B5EF4-FFF2-40B4-BE49-F238E27FC236}">
                <a16:creationId xmlns:a16="http://schemas.microsoft.com/office/drawing/2014/main" id="{3BB1EB6D-EFD1-CECC-8D0C-352A928E44EF}"/>
              </a:ext>
            </a:extLst>
          </p:cNvPr>
          <p:cNvGraphicFramePr>
            <a:graphicFrameLocks/>
          </p:cNvGraphicFramePr>
          <p:nvPr>
            <p:extLst>
              <p:ext uri="{D42A27DB-BD31-4B8C-83A1-F6EECF244321}">
                <p14:modId xmlns:p14="http://schemas.microsoft.com/office/powerpoint/2010/main" val="4025934202"/>
              </p:ext>
            </p:extLst>
          </p:nvPr>
        </p:nvGraphicFramePr>
        <p:xfrm>
          <a:off x="9068601" y="1477260"/>
          <a:ext cx="2050606" cy="2142452"/>
        </p:xfrm>
        <a:graphic>
          <a:graphicData uri="http://schemas.openxmlformats.org/drawingml/2006/chart">
            <c:chart xmlns:c="http://schemas.openxmlformats.org/drawingml/2006/chart" xmlns:r="http://schemas.openxmlformats.org/officeDocument/2006/relationships" r:id="rId22"/>
          </a:graphicData>
        </a:graphic>
      </p:graphicFrame>
      <p:grpSp>
        <p:nvGrpSpPr>
          <p:cNvPr id="356" name="Group 355">
            <a:extLst>
              <a:ext uri="{FF2B5EF4-FFF2-40B4-BE49-F238E27FC236}">
                <a16:creationId xmlns:a16="http://schemas.microsoft.com/office/drawing/2014/main" id="{6F5B10D8-5A1C-F18F-D1D3-C0BF74AD9737}"/>
              </a:ext>
            </a:extLst>
          </p:cNvPr>
          <p:cNvGrpSpPr/>
          <p:nvPr/>
        </p:nvGrpSpPr>
        <p:grpSpPr>
          <a:xfrm>
            <a:off x="11035349" y="1685840"/>
            <a:ext cx="1359064" cy="1156479"/>
            <a:chOff x="144795" y="5572979"/>
            <a:chExt cx="1049184" cy="1302386"/>
          </a:xfrm>
        </p:grpSpPr>
        <p:sp>
          <p:nvSpPr>
            <p:cNvPr id="357" name="Rectangle 356">
              <a:extLst>
                <a:ext uri="{FF2B5EF4-FFF2-40B4-BE49-F238E27FC236}">
                  <a16:creationId xmlns:a16="http://schemas.microsoft.com/office/drawing/2014/main" id="{DC8DA0FD-D83C-4A13-3A8A-C5C27DD6E636}"/>
                </a:ext>
              </a:extLst>
            </p:cNvPr>
            <p:cNvSpPr>
              <a:spLocks/>
            </p:cNvSpPr>
            <p:nvPr/>
          </p:nvSpPr>
          <p:spPr>
            <a:xfrm>
              <a:off x="144795" y="5572979"/>
              <a:ext cx="563979" cy="22727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1071743" rtl="0" eaLnBrk="1" fontAlgn="auto" latinLnBrk="0" hangingPunct="1">
                <a:lnSpc>
                  <a:spcPct val="100000"/>
                </a:lnSpc>
                <a:spcBef>
                  <a:spcPts val="300"/>
                </a:spcBef>
                <a:spcAft>
                  <a:spcPts val="600"/>
                </a:spcAft>
                <a:buClr>
                  <a:srgbClr val="FFE600"/>
                </a:buClr>
                <a:buSzPct val="100000"/>
                <a:tabLst/>
                <a:defRPr/>
              </a:pPr>
              <a:r>
                <a:rPr kumimoji="0" lang="en-AU" sz="1400" b="1" i="0" u="none" strike="noStrike" kern="1200" cap="none" spc="0" normalizeH="0" baseline="0" noProof="0" dirty="0">
                  <a:ln>
                    <a:noFill/>
                  </a:ln>
                  <a:solidFill>
                    <a:srgbClr val="2E2E38"/>
                  </a:solidFill>
                  <a:effectLst/>
                  <a:uLnTx/>
                  <a:uFillTx/>
                  <a:latin typeface="+mj-lt"/>
                </a:rPr>
                <a:t>Legend</a:t>
              </a:r>
              <a:endParaRPr lang="en-AU" sz="1400" dirty="0">
                <a:solidFill>
                  <a:srgbClr val="2E2E38"/>
                </a:solidFill>
                <a:latin typeface="+mj-lt"/>
              </a:endParaRPr>
            </a:p>
            <a:p>
              <a:pPr marL="270000" indent="-270000" defTabSz="1071743">
                <a:spcBef>
                  <a:spcPts val="300"/>
                </a:spcBef>
                <a:spcAft>
                  <a:spcPts val="300"/>
                </a:spcAft>
                <a:buClr>
                  <a:srgbClr val="FFE600"/>
                </a:buClr>
                <a:buSzPct val="100000"/>
                <a:buFont typeface="Arial" panose="020B0604020202020204" pitchFamily="34" charset="0"/>
                <a:buChar char="►"/>
                <a:defRPr/>
              </a:pPr>
              <a:endParaRPr lang="en-AU" sz="1400" dirty="0">
                <a:solidFill>
                  <a:srgbClr val="2E2E38"/>
                </a:solidFill>
                <a:latin typeface="+mj-lt"/>
              </a:endParaRPr>
            </a:p>
            <a:p>
              <a:pPr marR="0" lvl="0" algn="l" defTabSz="1071743" rtl="0" eaLnBrk="1" fontAlgn="auto" latinLnBrk="0" hangingPunct="1">
                <a:lnSpc>
                  <a:spcPct val="100000"/>
                </a:lnSpc>
                <a:spcBef>
                  <a:spcPts val="300"/>
                </a:spcBef>
                <a:spcAft>
                  <a:spcPts val="300"/>
                </a:spcAft>
                <a:buClr>
                  <a:srgbClr val="FFE600"/>
                </a:buClr>
                <a:buSzPct val="100000"/>
                <a:tabLst/>
                <a:defRPr/>
              </a:pPr>
              <a:endParaRPr kumimoji="0" lang="en-AU" sz="1400" b="1" i="0" u="none" strike="noStrike" kern="1200" cap="none" spc="0" normalizeH="0" baseline="0" noProof="0" dirty="0">
                <a:ln>
                  <a:noFill/>
                </a:ln>
                <a:solidFill>
                  <a:srgbClr val="2E2E38"/>
                </a:solidFill>
                <a:effectLst/>
                <a:uLnTx/>
                <a:uFillTx/>
                <a:latin typeface="+mj-lt"/>
              </a:endParaRPr>
            </a:p>
          </p:txBody>
        </p:sp>
        <p:sp>
          <p:nvSpPr>
            <p:cNvPr id="358" name="Rectangle 357">
              <a:extLst>
                <a:ext uri="{FF2B5EF4-FFF2-40B4-BE49-F238E27FC236}">
                  <a16:creationId xmlns:a16="http://schemas.microsoft.com/office/drawing/2014/main" id="{BD28A206-F1A9-424C-E2A0-D6C5FEE13936}"/>
                </a:ext>
              </a:extLst>
            </p:cNvPr>
            <p:cNvSpPr/>
            <p:nvPr/>
          </p:nvSpPr>
          <p:spPr>
            <a:xfrm>
              <a:off x="148951" y="6016827"/>
              <a:ext cx="121115" cy="17838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400">
                <a:solidFill>
                  <a:schemeClr val="bg1"/>
                </a:solidFill>
                <a:latin typeface="+mj-lt"/>
              </a:endParaRPr>
            </a:p>
          </p:txBody>
        </p:sp>
        <p:sp>
          <p:nvSpPr>
            <p:cNvPr id="359" name="Rectangle 358">
              <a:extLst>
                <a:ext uri="{FF2B5EF4-FFF2-40B4-BE49-F238E27FC236}">
                  <a16:creationId xmlns:a16="http://schemas.microsoft.com/office/drawing/2014/main" id="{A326486A-132B-FB31-1608-31F8B1F1F12E}"/>
                </a:ext>
              </a:extLst>
            </p:cNvPr>
            <p:cNvSpPr>
              <a:spLocks/>
            </p:cNvSpPr>
            <p:nvPr/>
          </p:nvSpPr>
          <p:spPr>
            <a:xfrm>
              <a:off x="266746" y="5919321"/>
              <a:ext cx="927233" cy="2946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1071743" rtl="0" eaLnBrk="1" fontAlgn="auto" latinLnBrk="0" hangingPunct="1">
                <a:lnSpc>
                  <a:spcPct val="100000"/>
                </a:lnSpc>
                <a:spcBef>
                  <a:spcPts val="300"/>
                </a:spcBef>
                <a:spcAft>
                  <a:spcPts val="300"/>
                </a:spcAft>
                <a:buClr>
                  <a:srgbClr val="FFE600"/>
                </a:buClr>
                <a:buSzPct val="100000"/>
                <a:tabLst/>
                <a:defRPr/>
              </a:pPr>
              <a:r>
                <a:rPr kumimoji="0" lang="en-AU" sz="1200" b="0" i="0" u="none" strike="noStrike" kern="1200" cap="none" spc="0" normalizeH="0" baseline="0" noProof="0" dirty="0">
                  <a:ln>
                    <a:noFill/>
                  </a:ln>
                  <a:solidFill>
                    <a:srgbClr val="2E2E38"/>
                  </a:solidFill>
                  <a:effectLst/>
                  <a:uLnTx/>
                  <a:uFillTx/>
                  <a:latin typeface="+mj-lt"/>
                </a:rPr>
                <a:t>Threshold</a:t>
              </a:r>
            </a:p>
            <a:p>
              <a:pPr marL="270000" marR="0" lvl="0" indent="-270000" algn="l" defTabSz="1071743" rtl="0" eaLnBrk="1" fontAlgn="auto" latinLnBrk="0" hangingPunct="1">
                <a:lnSpc>
                  <a:spcPct val="100000"/>
                </a:lnSpc>
                <a:spcAft>
                  <a:spcPts val="1200"/>
                </a:spcAft>
                <a:buClr>
                  <a:srgbClr val="FFE600"/>
                </a:buClr>
                <a:buSzPct val="100000"/>
                <a:buFont typeface="Arial" panose="020B0604020202020204" pitchFamily="34" charset="0"/>
                <a:buChar char="►"/>
                <a:tabLst/>
                <a:defRPr/>
              </a:pPr>
              <a:endParaRPr lang="en-AU" sz="1200" dirty="0">
                <a:solidFill>
                  <a:srgbClr val="2E2E38"/>
                </a:solidFill>
                <a:latin typeface="+mj-lt"/>
              </a:endParaRPr>
            </a:p>
          </p:txBody>
        </p:sp>
        <p:sp>
          <p:nvSpPr>
            <p:cNvPr id="361" name="Rectangle 360">
              <a:extLst>
                <a:ext uri="{FF2B5EF4-FFF2-40B4-BE49-F238E27FC236}">
                  <a16:creationId xmlns:a16="http://schemas.microsoft.com/office/drawing/2014/main" id="{46675279-4993-DB0B-20C6-1059234B1A74}"/>
                </a:ext>
              </a:extLst>
            </p:cNvPr>
            <p:cNvSpPr/>
            <p:nvPr/>
          </p:nvSpPr>
          <p:spPr>
            <a:xfrm>
              <a:off x="144795" y="6639754"/>
              <a:ext cx="121115" cy="17838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400">
                <a:solidFill>
                  <a:schemeClr val="bg1"/>
                </a:solidFill>
                <a:latin typeface="+mj-lt"/>
              </a:endParaRPr>
            </a:p>
          </p:txBody>
        </p:sp>
        <p:sp>
          <p:nvSpPr>
            <p:cNvPr id="362" name="Rectangle 361">
              <a:extLst>
                <a:ext uri="{FF2B5EF4-FFF2-40B4-BE49-F238E27FC236}">
                  <a16:creationId xmlns:a16="http://schemas.microsoft.com/office/drawing/2014/main" id="{CE88A3EA-1C2F-A1E5-DD3F-83992CF20916}"/>
                </a:ext>
              </a:extLst>
            </p:cNvPr>
            <p:cNvSpPr>
              <a:spLocks/>
            </p:cNvSpPr>
            <p:nvPr/>
          </p:nvSpPr>
          <p:spPr>
            <a:xfrm>
              <a:off x="249801" y="6580753"/>
              <a:ext cx="927233" cy="2946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1071743" rtl="0" eaLnBrk="1" fontAlgn="auto" latinLnBrk="0" hangingPunct="1">
                <a:lnSpc>
                  <a:spcPct val="100000"/>
                </a:lnSpc>
                <a:spcBef>
                  <a:spcPts val="300"/>
                </a:spcBef>
                <a:spcAft>
                  <a:spcPts val="300"/>
                </a:spcAft>
                <a:buClr>
                  <a:srgbClr val="FFE600"/>
                </a:buClr>
                <a:buSzPct val="100000"/>
                <a:tabLst/>
                <a:defRPr/>
              </a:pPr>
              <a:r>
                <a:rPr lang="en-AU" sz="1200" dirty="0">
                  <a:solidFill>
                    <a:srgbClr val="2E2E38"/>
                  </a:solidFill>
                  <a:latin typeface="+mj-lt"/>
                </a:rPr>
                <a:t>Fatality</a:t>
              </a:r>
            </a:p>
          </p:txBody>
        </p:sp>
        <p:sp>
          <p:nvSpPr>
            <p:cNvPr id="363" name="Rectangle 362">
              <a:extLst>
                <a:ext uri="{FF2B5EF4-FFF2-40B4-BE49-F238E27FC236}">
                  <a16:creationId xmlns:a16="http://schemas.microsoft.com/office/drawing/2014/main" id="{1D765C1E-4474-2745-9829-B8431505D39D}"/>
                </a:ext>
              </a:extLst>
            </p:cNvPr>
            <p:cNvSpPr/>
            <p:nvPr/>
          </p:nvSpPr>
          <p:spPr>
            <a:xfrm>
              <a:off x="144795" y="6343676"/>
              <a:ext cx="121115" cy="178383"/>
            </a:xfrm>
            <a:prstGeom prst="rect">
              <a:avLst/>
            </a:prstGeom>
            <a:solidFill>
              <a:schemeClr val="tx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400">
                <a:solidFill>
                  <a:schemeClr val="bg1"/>
                </a:solidFill>
                <a:latin typeface="+mj-lt"/>
              </a:endParaRPr>
            </a:p>
          </p:txBody>
        </p:sp>
        <p:sp>
          <p:nvSpPr>
            <p:cNvPr id="364" name="Rectangle 363">
              <a:extLst>
                <a:ext uri="{FF2B5EF4-FFF2-40B4-BE49-F238E27FC236}">
                  <a16:creationId xmlns:a16="http://schemas.microsoft.com/office/drawing/2014/main" id="{38E82CFC-67CD-C898-AE19-AD06B44F59B1}"/>
                </a:ext>
              </a:extLst>
            </p:cNvPr>
            <p:cNvSpPr>
              <a:spLocks/>
            </p:cNvSpPr>
            <p:nvPr/>
          </p:nvSpPr>
          <p:spPr>
            <a:xfrm>
              <a:off x="245481" y="6262760"/>
              <a:ext cx="919684" cy="28590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1071743" rtl="0" eaLnBrk="1" fontAlgn="auto" latinLnBrk="0" hangingPunct="1">
                <a:lnSpc>
                  <a:spcPct val="100000"/>
                </a:lnSpc>
                <a:spcBef>
                  <a:spcPts val="300"/>
                </a:spcBef>
                <a:spcAft>
                  <a:spcPts val="300"/>
                </a:spcAft>
                <a:buClr>
                  <a:srgbClr val="FFE600"/>
                </a:buClr>
                <a:buSzPct val="100000"/>
                <a:tabLst/>
                <a:defRPr/>
              </a:pPr>
              <a:r>
                <a:rPr lang="en-AU" sz="1200" dirty="0">
                  <a:solidFill>
                    <a:srgbClr val="2E2E38"/>
                  </a:solidFill>
                  <a:latin typeface="+mj-lt"/>
                </a:rPr>
                <a:t>N</a:t>
              </a:r>
              <a:r>
                <a:rPr kumimoji="0" lang="en-AU" sz="1200" b="0" i="0" u="none" strike="noStrike" kern="1200" cap="none" spc="0" normalizeH="0" baseline="0" noProof="0" dirty="0">
                  <a:ln>
                    <a:noFill/>
                  </a:ln>
                  <a:solidFill>
                    <a:srgbClr val="2E2E38"/>
                  </a:solidFill>
                  <a:effectLst/>
                  <a:uLnTx/>
                  <a:uFillTx/>
                  <a:latin typeface="+mj-lt"/>
                </a:rPr>
                <a:t>on-threshold</a:t>
              </a:r>
            </a:p>
            <a:p>
              <a:pPr marL="270000" marR="0" lvl="0" indent="-270000" algn="l" defTabSz="1071743" rtl="0" eaLnBrk="1" fontAlgn="auto" latinLnBrk="0" hangingPunct="1">
                <a:lnSpc>
                  <a:spcPct val="100000"/>
                </a:lnSpc>
                <a:spcAft>
                  <a:spcPts val="1200"/>
                </a:spcAft>
                <a:buClr>
                  <a:srgbClr val="FFE600"/>
                </a:buClr>
                <a:buSzPct val="100000"/>
                <a:buFont typeface="Arial" panose="020B0604020202020204" pitchFamily="34" charset="0"/>
                <a:buChar char="►"/>
                <a:tabLst/>
                <a:defRPr/>
              </a:pPr>
              <a:endParaRPr lang="en-AU" sz="1200" dirty="0">
                <a:solidFill>
                  <a:srgbClr val="2E2E38"/>
                </a:solidFill>
                <a:latin typeface="+mj-lt"/>
              </a:endParaRPr>
            </a:p>
          </p:txBody>
        </p:sp>
      </p:grpSp>
      <p:pic>
        <p:nvPicPr>
          <p:cNvPr id="365" name="Graphic 364" descr="Tricycle with solid fill">
            <a:extLst>
              <a:ext uri="{FF2B5EF4-FFF2-40B4-BE49-F238E27FC236}">
                <a16:creationId xmlns:a16="http://schemas.microsoft.com/office/drawing/2014/main" id="{C9D72C7C-436E-BB12-ACC2-20E86907600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922550" y="2232272"/>
            <a:ext cx="417691" cy="417691"/>
          </a:xfrm>
          <a:prstGeom prst="rect">
            <a:avLst/>
          </a:prstGeom>
        </p:spPr>
      </p:pic>
      <p:grpSp>
        <p:nvGrpSpPr>
          <p:cNvPr id="366" name="Group 365">
            <a:extLst>
              <a:ext uri="{FF2B5EF4-FFF2-40B4-BE49-F238E27FC236}">
                <a16:creationId xmlns:a16="http://schemas.microsoft.com/office/drawing/2014/main" id="{D178DA36-F586-A846-E0EE-ACD339777241}"/>
              </a:ext>
            </a:extLst>
          </p:cNvPr>
          <p:cNvGrpSpPr/>
          <p:nvPr/>
        </p:nvGrpSpPr>
        <p:grpSpPr>
          <a:xfrm>
            <a:off x="9900776" y="2207277"/>
            <a:ext cx="276626" cy="237503"/>
            <a:chOff x="1957677" y="5029826"/>
            <a:chExt cx="540737" cy="431306"/>
          </a:xfrm>
          <a:solidFill>
            <a:schemeClr val="tx2"/>
          </a:solidFill>
        </p:grpSpPr>
        <p:sp>
          <p:nvSpPr>
            <p:cNvPr id="367" name="Rectangle 366">
              <a:extLst>
                <a:ext uri="{FF2B5EF4-FFF2-40B4-BE49-F238E27FC236}">
                  <a16:creationId xmlns:a16="http://schemas.microsoft.com/office/drawing/2014/main" id="{54648213-FCF1-6B5A-FFF7-D8CBB5818512}"/>
                </a:ext>
              </a:extLst>
            </p:cNvPr>
            <p:cNvSpPr/>
            <p:nvPr/>
          </p:nvSpPr>
          <p:spPr>
            <a:xfrm>
              <a:off x="2102392" y="5325386"/>
              <a:ext cx="299063" cy="7827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400">
                <a:solidFill>
                  <a:schemeClr val="tx1"/>
                </a:solidFill>
                <a:latin typeface="+mj-lt"/>
              </a:endParaRPr>
            </a:p>
          </p:txBody>
        </p:sp>
        <p:pic>
          <p:nvPicPr>
            <p:cNvPr id="368" name="Graphic 367" descr="Harvey Balls 100% with solid fill">
              <a:extLst>
                <a:ext uri="{FF2B5EF4-FFF2-40B4-BE49-F238E27FC236}">
                  <a16:creationId xmlns:a16="http://schemas.microsoft.com/office/drawing/2014/main" id="{05E5BBDD-9886-67AA-D5C0-D5232A4739C4}"/>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957677" y="5274854"/>
              <a:ext cx="186278" cy="186278"/>
            </a:xfrm>
            <a:prstGeom prst="rect">
              <a:avLst/>
            </a:prstGeom>
          </p:spPr>
        </p:pic>
        <p:sp>
          <p:nvSpPr>
            <p:cNvPr id="369" name="Rectangle 368">
              <a:extLst>
                <a:ext uri="{FF2B5EF4-FFF2-40B4-BE49-F238E27FC236}">
                  <a16:creationId xmlns:a16="http://schemas.microsoft.com/office/drawing/2014/main" id="{FEE1B1C9-FA25-A154-085A-363BC30EBC6D}"/>
                </a:ext>
              </a:extLst>
            </p:cNvPr>
            <p:cNvSpPr/>
            <p:nvPr/>
          </p:nvSpPr>
          <p:spPr>
            <a:xfrm rot="4502646">
              <a:off x="2236184" y="5154292"/>
              <a:ext cx="294651" cy="4571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400">
                <a:solidFill>
                  <a:schemeClr val="tx1"/>
                </a:solidFill>
                <a:latin typeface="+mj-lt"/>
              </a:endParaRPr>
            </a:p>
          </p:txBody>
        </p:sp>
        <p:sp>
          <p:nvSpPr>
            <p:cNvPr id="370" name="Rectangle 369">
              <a:extLst>
                <a:ext uri="{FF2B5EF4-FFF2-40B4-BE49-F238E27FC236}">
                  <a16:creationId xmlns:a16="http://schemas.microsoft.com/office/drawing/2014/main" id="{BD658889-1EAF-47CA-E314-979CCB37A11F}"/>
                </a:ext>
              </a:extLst>
            </p:cNvPr>
            <p:cNvSpPr/>
            <p:nvPr/>
          </p:nvSpPr>
          <p:spPr>
            <a:xfrm>
              <a:off x="2294657" y="5034856"/>
              <a:ext cx="52723" cy="4571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400">
                <a:solidFill>
                  <a:schemeClr val="tx1"/>
                </a:solidFill>
                <a:latin typeface="+mj-lt"/>
              </a:endParaRPr>
            </a:p>
          </p:txBody>
        </p:sp>
        <p:sp>
          <p:nvSpPr>
            <p:cNvPr id="371" name="Rectangle 370">
              <a:extLst>
                <a:ext uri="{FF2B5EF4-FFF2-40B4-BE49-F238E27FC236}">
                  <a16:creationId xmlns:a16="http://schemas.microsoft.com/office/drawing/2014/main" id="{0C843E6E-A22E-1B1C-95B5-087A5E906941}"/>
                </a:ext>
              </a:extLst>
            </p:cNvPr>
            <p:cNvSpPr/>
            <p:nvPr/>
          </p:nvSpPr>
          <p:spPr>
            <a:xfrm rot="19224602">
              <a:off x="2207166" y="5272354"/>
              <a:ext cx="231026" cy="6516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400">
                <a:solidFill>
                  <a:schemeClr val="tx1"/>
                </a:solidFill>
                <a:latin typeface="+mj-lt"/>
              </a:endParaRPr>
            </a:p>
          </p:txBody>
        </p:sp>
        <p:pic>
          <p:nvPicPr>
            <p:cNvPr id="373" name="Graphic 372" descr="Harvey Balls 100% with solid fill">
              <a:extLst>
                <a:ext uri="{FF2B5EF4-FFF2-40B4-BE49-F238E27FC236}">
                  <a16:creationId xmlns:a16="http://schemas.microsoft.com/office/drawing/2014/main" id="{E9100100-2ED9-A7A1-FD09-B0B049A2B9D0}"/>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2300427" y="5262094"/>
              <a:ext cx="197987" cy="197987"/>
            </a:xfrm>
            <a:prstGeom prst="rect">
              <a:avLst/>
            </a:prstGeom>
          </p:spPr>
        </p:pic>
      </p:grpSp>
      <p:sp>
        <p:nvSpPr>
          <p:cNvPr id="375" name="TextBox 374">
            <a:extLst>
              <a:ext uri="{FF2B5EF4-FFF2-40B4-BE49-F238E27FC236}">
                <a16:creationId xmlns:a16="http://schemas.microsoft.com/office/drawing/2014/main" id="{F201BC6B-A009-E285-4FEA-07850F0E9EB5}"/>
              </a:ext>
            </a:extLst>
          </p:cNvPr>
          <p:cNvSpPr txBox="1"/>
          <p:nvPr/>
        </p:nvSpPr>
        <p:spPr>
          <a:xfrm>
            <a:off x="7815367" y="2640288"/>
            <a:ext cx="600525" cy="221664"/>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AU" sz="1400" b="1" dirty="0">
                <a:solidFill>
                  <a:schemeClr val="tx2"/>
                </a:solidFill>
                <a:latin typeface="+mj-lt"/>
              </a:rPr>
              <a:t>E-bike</a:t>
            </a:r>
          </a:p>
        </p:txBody>
      </p:sp>
      <p:sp>
        <p:nvSpPr>
          <p:cNvPr id="378" name="TextBox 377">
            <a:extLst>
              <a:ext uri="{FF2B5EF4-FFF2-40B4-BE49-F238E27FC236}">
                <a16:creationId xmlns:a16="http://schemas.microsoft.com/office/drawing/2014/main" id="{9D7C55CA-DEB6-A030-5EB1-97331258548D}"/>
              </a:ext>
            </a:extLst>
          </p:cNvPr>
          <p:cNvSpPr txBox="1"/>
          <p:nvPr/>
        </p:nvSpPr>
        <p:spPr>
          <a:xfrm>
            <a:off x="9702640" y="2490635"/>
            <a:ext cx="796718" cy="221664"/>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AU" sz="1400" b="1" dirty="0">
                <a:solidFill>
                  <a:schemeClr val="tx2"/>
                </a:solidFill>
                <a:latin typeface="+mj-lt"/>
              </a:rPr>
              <a:t>E-scooter</a:t>
            </a:r>
          </a:p>
        </p:txBody>
      </p:sp>
      <p:sp>
        <p:nvSpPr>
          <p:cNvPr id="379" name="Rectangle 378">
            <a:extLst>
              <a:ext uri="{FF2B5EF4-FFF2-40B4-BE49-F238E27FC236}">
                <a16:creationId xmlns:a16="http://schemas.microsoft.com/office/drawing/2014/main" id="{F6DA0D2C-A12E-E90E-482F-19B25B9CB6FF}"/>
              </a:ext>
            </a:extLst>
          </p:cNvPr>
          <p:cNvSpPr/>
          <p:nvPr/>
        </p:nvSpPr>
        <p:spPr>
          <a:xfrm>
            <a:off x="7372011" y="-820359"/>
            <a:ext cx="4078553" cy="6437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spcBef>
                <a:spcPts val="300"/>
              </a:spcBef>
              <a:spcAft>
                <a:spcPts val="400"/>
              </a:spcAft>
              <a:buSzPct val="75000"/>
              <a:buFont typeface="Arial" panose="020B0604020202020204" pitchFamily="34" charset="0"/>
              <a:buChar char="►"/>
            </a:pPr>
            <a:r>
              <a:rPr lang="en-AU" sz="900" dirty="0">
                <a:solidFill>
                  <a:schemeClr val="tx1"/>
                </a:solidFill>
                <a:latin typeface="EYInterstate Light" panose="02000506000000020004" pitchFamily="2" charset="0"/>
              </a:rPr>
              <a:t>MMD injuries are of lower severity than motorcycle accidents where we have observed 20% threshold, 78% non-threshold and 2% fatality claims. </a:t>
            </a:r>
          </a:p>
          <a:p>
            <a:pPr marL="171450" indent="-171450">
              <a:spcBef>
                <a:spcPts val="300"/>
              </a:spcBef>
              <a:spcAft>
                <a:spcPts val="400"/>
              </a:spcAft>
              <a:buSzPct val="75000"/>
              <a:buFont typeface="Arial" panose="020B0604020202020204" pitchFamily="34" charset="0"/>
              <a:buChar char="►"/>
            </a:pPr>
            <a:r>
              <a:rPr lang="en-AU" sz="900" dirty="0">
                <a:solidFill>
                  <a:schemeClr val="tx1"/>
                </a:solidFill>
                <a:latin typeface="EYInterstate Light" panose="02000506000000020004" pitchFamily="2" charset="0"/>
              </a:rPr>
              <a:t>E-scooters are assumed to have a higher proportion of threshold claims due to lower speed and power output of devices. </a:t>
            </a:r>
          </a:p>
        </p:txBody>
      </p:sp>
      <p:sp>
        <p:nvSpPr>
          <p:cNvPr id="380" name="TextBox 379">
            <a:extLst>
              <a:ext uri="{FF2B5EF4-FFF2-40B4-BE49-F238E27FC236}">
                <a16:creationId xmlns:a16="http://schemas.microsoft.com/office/drawing/2014/main" id="{260929DD-6E05-2B74-70CB-4FB804F475F2}"/>
              </a:ext>
            </a:extLst>
          </p:cNvPr>
          <p:cNvSpPr txBox="1"/>
          <p:nvPr/>
        </p:nvSpPr>
        <p:spPr>
          <a:xfrm>
            <a:off x="491662" y="-240868"/>
            <a:ext cx="2277505" cy="200055"/>
          </a:xfrm>
          <a:prstGeom prst="rect">
            <a:avLst/>
          </a:prstGeom>
          <a:noFill/>
          <a:ln>
            <a:noFill/>
          </a:ln>
        </p:spPr>
        <p:txBody>
          <a:bodyPr wrap="square">
            <a:spAutoFit/>
          </a:bodyPr>
          <a:lstStyle/>
          <a:p>
            <a:r>
              <a:rPr lang="en-AU" sz="700" baseline="30000" dirty="0">
                <a:solidFill>
                  <a:schemeClr val="tx2">
                    <a:lumMod val="75000"/>
                  </a:schemeClr>
                </a:solidFill>
                <a:latin typeface="EYInterstate Light" panose="02000506000000020004" pitchFamily="2" charset="0"/>
              </a:rPr>
              <a:t>1</a:t>
            </a:r>
            <a:r>
              <a:rPr lang="en-AU" sz="700" dirty="0">
                <a:solidFill>
                  <a:schemeClr val="tx2">
                    <a:lumMod val="75000"/>
                  </a:schemeClr>
                </a:solidFill>
                <a:latin typeface="EYInterstate Light" panose="02000506000000020004" pitchFamily="2" charset="0"/>
              </a:rPr>
              <a:t> Inclusive of all parties injured in an accident.</a:t>
            </a:r>
          </a:p>
        </p:txBody>
      </p:sp>
      <p:grpSp>
        <p:nvGrpSpPr>
          <p:cNvPr id="382" name="Group 381">
            <a:extLst>
              <a:ext uri="{FF2B5EF4-FFF2-40B4-BE49-F238E27FC236}">
                <a16:creationId xmlns:a16="http://schemas.microsoft.com/office/drawing/2014/main" id="{050EC999-AA7E-48BA-7ED6-3CEDD5818F17}"/>
              </a:ext>
            </a:extLst>
          </p:cNvPr>
          <p:cNvGrpSpPr/>
          <p:nvPr/>
        </p:nvGrpSpPr>
        <p:grpSpPr>
          <a:xfrm>
            <a:off x="1884003" y="5335497"/>
            <a:ext cx="3643237" cy="527167"/>
            <a:chOff x="301358" y="6118954"/>
            <a:chExt cx="3239249" cy="527167"/>
          </a:xfrm>
        </p:grpSpPr>
        <p:grpSp>
          <p:nvGrpSpPr>
            <p:cNvPr id="383" name="Group 382">
              <a:extLst>
                <a:ext uri="{FF2B5EF4-FFF2-40B4-BE49-F238E27FC236}">
                  <a16:creationId xmlns:a16="http://schemas.microsoft.com/office/drawing/2014/main" id="{200EFA67-853C-5B1D-B0E1-A0BF779EEA71}"/>
                </a:ext>
              </a:extLst>
            </p:cNvPr>
            <p:cNvGrpSpPr/>
            <p:nvPr/>
          </p:nvGrpSpPr>
          <p:grpSpPr>
            <a:xfrm>
              <a:off x="301358" y="6118954"/>
              <a:ext cx="3239249" cy="527167"/>
              <a:chOff x="217208" y="6172111"/>
              <a:chExt cx="3239249" cy="527167"/>
            </a:xfrm>
          </p:grpSpPr>
          <p:sp>
            <p:nvSpPr>
              <p:cNvPr id="385" name="TextBox 384">
                <a:extLst>
                  <a:ext uri="{FF2B5EF4-FFF2-40B4-BE49-F238E27FC236}">
                    <a16:creationId xmlns:a16="http://schemas.microsoft.com/office/drawing/2014/main" id="{E945D36A-AB31-6076-418B-11709644EB06}"/>
                  </a:ext>
                </a:extLst>
              </p:cNvPr>
              <p:cNvSpPr txBox="1"/>
              <p:nvPr/>
            </p:nvSpPr>
            <p:spPr>
              <a:xfrm>
                <a:off x="1619521" y="6172111"/>
                <a:ext cx="1403697" cy="307777"/>
              </a:xfrm>
              <a:prstGeom prst="rect">
                <a:avLst/>
              </a:prstGeom>
              <a:noFill/>
              <a:ln>
                <a:noFill/>
              </a:ln>
            </p:spPr>
            <p:txBody>
              <a:bodyPr wrap="square">
                <a:spAutoFit/>
              </a:bodyPr>
              <a:lstStyle/>
              <a:p>
                <a:r>
                  <a:rPr lang="en-AU" sz="1400" b="1" baseline="30000" dirty="0">
                    <a:solidFill>
                      <a:schemeClr val="tx2">
                        <a:lumMod val="75000"/>
                      </a:schemeClr>
                    </a:solidFill>
                    <a:latin typeface="+mj-lt"/>
                  </a:rPr>
                  <a:t>Legend</a:t>
                </a:r>
                <a:endParaRPr lang="en-AU" sz="1400" b="1" dirty="0">
                  <a:solidFill>
                    <a:schemeClr val="tx2">
                      <a:lumMod val="75000"/>
                    </a:schemeClr>
                  </a:solidFill>
                  <a:latin typeface="+mj-lt"/>
                </a:endParaRPr>
              </a:p>
            </p:txBody>
          </p:sp>
          <p:pic>
            <p:nvPicPr>
              <p:cNvPr id="387" name="Graphic 386" descr="Tricycle with solid fill">
                <a:extLst>
                  <a:ext uri="{FF2B5EF4-FFF2-40B4-BE49-F238E27FC236}">
                    <a16:creationId xmlns:a16="http://schemas.microsoft.com/office/drawing/2014/main" id="{5FA84D02-0196-A6CB-E4F7-D57B4945F4E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17208" y="6320363"/>
                <a:ext cx="228587" cy="232501"/>
              </a:xfrm>
              <a:prstGeom prst="rect">
                <a:avLst/>
              </a:prstGeom>
            </p:spPr>
          </p:pic>
          <p:pic>
            <p:nvPicPr>
              <p:cNvPr id="388" name="Graphic 387" descr="Motorcycle with solid fill">
                <a:extLst>
                  <a:ext uri="{FF2B5EF4-FFF2-40B4-BE49-F238E27FC236}">
                    <a16:creationId xmlns:a16="http://schemas.microsoft.com/office/drawing/2014/main" id="{3DA22A25-CB22-3303-882B-4F0B8506429E}"/>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752334" y="6371078"/>
                <a:ext cx="228587" cy="232501"/>
              </a:xfrm>
              <a:prstGeom prst="rect">
                <a:avLst/>
              </a:prstGeom>
            </p:spPr>
          </p:pic>
          <p:pic>
            <p:nvPicPr>
              <p:cNvPr id="389" name="Graphic 388" descr="Car with solid fill">
                <a:extLst>
                  <a:ext uri="{FF2B5EF4-FFF2-40B4-BE49-F238E27FC236}">
                    <a16:creationId xmlns:a16="http://schemas.microsoft.com/office/drawing/2014/main" id="{B9C85641-471F-FB48-4545-670D71D3F8EF}"/>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569008" y="6381048"/>
                <a:ext cx="258421" cy="262846"/>
              </a:xfrm>
              <a:prstGeom prst="rect">
                <a:avLst/>
              </a:prstGeom>
            </p:spPr>
          </p:pic>
          <p:sp>
            <p:nvSpPr>
              <p:cNvPr id="390" name="TextBox 389">
                <a:extLst>
                  <a:ext uri="{FF2B5EF4-FFF2-40B4-BE49-F238E27FC236}">
                    <a16:creationId xmlns:a16="http://schemas.microsoft.com/office/drawing/2014/main" id="{0770799D-2FB0-5168-9662-53B1DF581361}"/>
                  </a:ext>
                </a:extLst>
              </p:cNvPr>
              <p:cNvSpPr txBox="1"/>
              <p:nvPr/>
            </p:nvSpPr>
            <p:spPr>
              <a:xfrm>
                <a:off x="445794" y="6311327"/>
                <a:ext cx="433710" cy="307777"/>
              </a:xfrm>
              <a:prstGeom prst="rect">
                <a:avLst/>
              </a:prstGeom>
              <a:noFill/>
              <a:ln>
                <a:noFill/>
              </a:ln>
            </p:spPr>
            <p:txBody>
              <a:bodyPr wrap="square">
                <a:spAutoFit/>
              </a:bodyPr>
              <a:lstStyle/>
              <a:p>
                <a:r>
                  <a:rPr lang="en-AU" sz="1400" baseline="30000" dirty="0">
                    <a:solidFill>
                      <a:schemeClr val="tx2">
                        <a:lumMod val="75000"/>
                      </a:schemeClr>
                    </a:solidFill>
                    <a:latin typeface="+mj-lt"/>
                  </a:rPr>
                  <a:t>E-bike</a:t>
                </a:r>
                <a:endParaRPr lang="en-AU" sz="1200" dirty="0">
                  <a:solidFill>
                    <a:schemeClr val="tx2">
                      <a:lumMod val="75000"/>
                    </a:schemeClr>
                  </a:solidFill>
                  <a:latin typeface="+mj-lt"/>
                </a:endParaRPr>
              </a:p>
            </p:txBody>
          </p:sp>
          <p:sp>
            <p:nvSpPr>
              <p:cNvPr id="391" name="TextBox 390">
                <a:extLst>
                  <a:ext uri="{FF2B5EF4-FFF2-40B4-BE49-F238E27FC236}">
                    <a16:creationId xmlns:a16="http://schemas.microsoft.com/office/drawing/2014/main" id="{0AA1D7AF-5CB4-0E5C-32F2-534E97157FAB}"/>
                  </a:ext>
                </a:extLst>
              </p:cNvPr>
              <p:cNvSpPr txBox="1"/>
              <p:nvPr/>
            </p:nvSpPr>
            <p:spPr>
              <a:xfrm>
                <a:off x="1151546" y="6343717"/>
                <a:ext cx="779882" cy="307777"/>
              </a:xfrm>
              <a:prstGeom prst="rect">
                <a:avLst/>
              </a:prstGeom>
              <a:noFill/>
              <a:ln>
                <a:noFill/>
              </a:ln>
            </p:spPr>
            <p:txBody>
              <a:bodyPr wrap="square">
                <a:spAutoFit/>
              </a:bodyPr>
              <a:lstStyle/>
              <a:p>
                <a:r>
                  <a:rPr lang="en-AU" sz="1400" baseline="30000" dirty="0">
                    <a:solidFill>
                      <a:schemeClr val="tx2">
                        <a:lumMod val="75000"/>
                      </a:schemeClr>
                    </a:solidFill>
                    <a:latin typeface="+mj-lt"/>
                  </a:rPr>
                  <a:t>E-scooter</a:t>
                </a:r>
                <a:endParaRPr lang="en-AU" sz="1200" dirty="0">
                  <a:solidFill>
                    <a:schemeClr val="tx2">
                      <a:lumMod val="75000"/>
                    </a:schemeClr>
                  </a:solidFill>
                  <a:latin typeface="+mj-lt"/>
                </a:endParaRPr>
              </a:p>
            </p:txBody>
          </p:sp>
          <p:sp>
            <p:nvSpPr>
              <p:cNvPr id="392" name="TextBox 391">
                <a:extLst>
                  <a:ext uri="{FF2B5EF4-FFF2-40B4-BE49-F238E27FC236}">
                    <a16:creationId xmlns:a16="http://schemas.microsoft.com/office/drawing/2014/main" id="{AA2E2FEB-7EFB-9BE3-A44C-3D1A3028FC31}"/>
                  </a:ext>
                </a:extLst>
              </p:cNvPr>
              <p:cNvSpPr txBox="1"/>
              <p:nvPr/>
            </p:nvSpPr>
            <p:spPr>
              <a:xfrm>
                <a:off x="1896851" y="6374886"/>
                <a:ext cx="906186" cy="307777"/>
              </a:xfrm>
              <a:prstGeom prst="rect">
                <a:avLst/>
              </a:prstGeom>
              <a:noFill/>
              <a:ln>
                <a:noFill/>
              </a:ln>
            </p:spPr>
            <p:txBody>
              <a:bodyPr wrap="square">
                <a:spAutoFit/>
              </a:bodyPr>
              <a:lstStyle/>
              <a:p>
                <a:r>
                  <a:rPr lang="en-AU" sz="1400" baseline="30000" dirty="0">
                    <a:solidFill>
                      <a:schemeClr val="tx2">
                        <a:lumMod val="75000"/>
                      </a:schemeClr>
                    </a:solidFill>
                    <a:latin typeface="+mj-lt"/>
                  </a:rPr>
                  <a:t>Motorcycle</a:t>
                </a:r>
                <a:endParaRPr lang="en-AU" sz="1200" dirty="0">
                  <a:solidFill>
                    <a:schemeClr val="tx2">
                      <a:lumMod val="75000"/>
                    </a:schemeClr>
                  </a:solidFill>
                  <a:latin typeface="+mj-lt"/>
                </a:endParaRPr>
              </a:p>
            </p:txBody>
          </p:sp>
          <p:sp>
            <p:nvSpPr>
              <p:cNvPr id="393" name="TextBox 392">
                <a:extLst>
                  <a:ext uri="{FF2B5EF4-FFF2-40B4-BE49-F238E27FC236}">
                    <a16:creationId xmlns:a16="http://schemas.microsoft.com/office/drawing/2014/main" id="{CF4BBF1C-2503-C152-93ED-8166344C1CA6}"/>
                  </a:ext>
                </a:extLst>
              </p:cNvPr>
              <p:cNvSpPr txBox="1"/>
              <p:nvPr/>
            </p:nvSpPr>
            <p:spPr>
              <a:xfrm>
                <a:off x="2861457" y="6391501"/>
                <a:ext cx="595000" cy="307777"/>
              </a:xfrm>
              <a:prstGeom prst="rect">
                <a:avLst/>
              </a:prstGeom>
              <a:noFill/>
              <a:ln>
                <a:noFill/>
              </a:ln>
            </p:spPr>
            <p:txBody>
              <a:bodyPr wrap="square">
                <a:spAutoFit/>
              </a:bodyPr>
              <a:lstStyle/>
              <a:p>
                <a:r>
                  <a:rPr lang="en-AU" sz="1400" baseline="30000" dirty="0">
                    <a:solidFill>
                      <a:schemeClr val="tx2">
                        <a:lumMod val="75000"/>
                      </a:schemeClr>
                    </a:solidFill>
                    <a:latin typeface="+mj-lt"/>
                  </a:rPr>
                  <a:t>Car</a:t>
                </a:r>
                <a:endParaRPr lang="en-AU" sz="1200" dirty="0">
                  <a:solidFill>
                    <a:schemeClr val="tx2">
                      <a:lumMod val="75000"/>
                    </a:schemeClr>
                  </a:solidFill>
                  <a:latin typeface="+mj-lt"/>
                </a:endParaRPr>
              </a:p>
            </p:txBody>
          </p:sp>
        </p:grpSp>
        <p:sp>
          <p:nvSpPr>
            <p:cNvPr id="384" name="Rectangle 383">
              <a:extLst>
                <a:ext uri="{FF2B5EF4-FFF2-40B4-BE49-F238E27FC236}">
                  <a16:creationId xmlns:a16="http://schemas.microsoft.com/office/drawing/2014/main" id="{A0643C0B-2778-7C1E-53A7-672C17B0C635}"/>
                </a:ext>
              </a:extLst>
            </p:cNvPr>
            <p:cNvSpPr/>
            <p:nvPr/>
          </p:nvSpPr>
          <p:spPr>
            <a:xfrm>
              <a:off x="402365" y="6139286"/>
              <a:ext cx="2409078" cy="39917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2800">
                <a:solidFill>
                  <a:schemeClr val="tx1"/>
                </a:solidFill>
                <a:latin typeface="+mj-lt"/>
              </a:endParaRPr>
            </a:p>
          </p:txBody>
        </p:sp>
      </p:grpSp>
      <p:sp>
        <p:nvSpPr>
          <p:cNvPr id="401" name="Rectangle 400">
            <a:extLst>
              <a:ext uri="{FF2B5EF4-FFF2-40B4-BE49-F238E27FC236}">
                <a16:creationId xmlns:a16="http://schemas.microsoft.com/office/drawing/2014/main" id="{4DC714E8-C456-A284-FE3B-8187F98BD531}"/>
              </a:ext>
            </a:extLst>
          </p:cNvPr>
          <p:cNvSpPr/>
          <p:nvPr/>
        </p:nvSpPr>
        <p:spPr>
          <a:xfrm>
            <a:off x="7561201" y="5172109"/>
            <a:ext cx="3700171" cy="689203"/>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dirty="0">
                <a:solidFill>
                  <a:srgbClr val="FFFFFF"/>
                </a:solidFill>
                <a:latin typeface="+mj-lt"/>
              </a:rPr>
              <a:t>Average claim size (MAGs) </a:t>
            </a:r>
          </a:p>
        </p:txBody>
      </p:sp>
      <p:pic>
        <p:nvPicPr>
          <p:cNvPr id="404" name="Picture 403">
            <a:extLst>
              <a:ext uri="{FF2B5EF4-FFF2-40B4-BE49-F238E27FC236}">
                <a16:creationId xmlns:a16="http://schemas.microsoft.com/office/drawing/2014/main" id="{2303B50E-45BB-D4C1-6D46-B1C1D45DB50B}"/>
              </a:ext>
            </a:extLst>
          </p:cNvPr>
          <p:cNvPicPr>
            <a:picLocks noChangeAspect="1"/>
          </p:cNvPicPr>
          <p:nvPr/>
        </p:nvPicPr>
        <p:blipFill>
          <a:blip r:embed="rId29">
            <a:duotone>
              <a:schemeClr val="accent1">
                <a:shade val="45000"/>
                <a:satMod val="135000"/>
              </a:schemeClr>
              <a:prstClr val="white"/>
            </a:duotone>
          </a:blip>
          <a:stretch>
            <a:fillRect/>
          </a:stretch>
        </p:blipFill>
        <p:spPr>
          <a:xfrm>
            <a:off x="5061615" y="4828732"/>
            <a:ext cx="331200" cy="331200"/>
          </a:xfrm>
          <a:prstGeom prst="rect">
            <a:avLst/>
          </a:prstGeom>
        </p:spPr>
      </p:pic>
      <p:pic>
        <p:nvPicPr>
          <p:cNvPr id="405" name="Picture 404">
            <a:extLst>
              <a:ext uri="{FF2B5EF4-FFF2-40B4-BE49-F238E27FC236}">
                <a16:creationId xmlns:a16="http://schemas.microsoft.com/office/drawing/2014/main" id="{690CBDED-2E91-C593-4BCA-D9862D5A0677}"/>
              </a:ext>
            </a:extLst>
          </p:cNvPr>
          <p:cNvPicPr>
            <a:picLocks noChangeAspect="1"/>
          </p:cNvPicPr>
          <p:nvPr/>
        </p:nvPicPr>
        <p:blipFill>
          <a:blip r:embed="rId29">
            <a:duotone>
              <a:schemeClr val="accent1">
                <a:shade val="45000"/>
                <a:satMod val="135000"/>
              </a:schemeClr>
              <a:prstClr val="white"/>
            </a:duotone>
          </a:blip>
          <a:stretch>
            <a:fillRect/>
          </a:stretch>
        </p:blipFill>
        <p:spPr>
          <a:xfrm>
            <a:off x="5066052" y="4001430"/>
            <a:ext cx="331200" cy="331200"/>
          </a:xfrm>
          <a:prstGeom prst="rect">
            <a:avLst/>
          </a:prstGeom>
        </p:spPr>
      </p:pic>
      <p:pic>
        <p:nvPicPr>
          <p:cNvPr id="406" name="Picture 405">
            <a:extLst>
              <a:ext uri="{FF2B5EF4-FFF2-40B4-BE49-F238E27FC236}">
                <a16:creationId xmlns:a16="http://schemas.microsoft.com/office/drawing/2014/main" id="{BCB03B0F-71D4-B210-7619-ED76FBB414A8}"/>
              </a:ext>
            </a:extLst>
          </p:cNvPr>
          <p:cNvPicPr>
            <a:picLocks noChangeAspect="1"/>
          </p:cNvPicPr>
          <p:nvPr/>
        </p:nvPicPr>
        <p:blipFill>
          <a:blip r:embed="rId29">
            <a:duotone>
              <a:schemeClr val="accent1">
                <a:shade val="45000"/>
                <a:satMod val="135000"/>
              </a:schemeClr>
              <a:prstClr val="white"/>
            </a:duotone>
          </a:blip>
          <a:stretch>
            <a:fillRect/>
          </a:stretch>
        </p:blipFill>
        <p:spPr>
          <a:xfrm>
            <a:off x="5068197" y="3058996"/>
            <a:ext cx="331200" cy="331200"/>
          </a:xfrm>
          <a:prstGeom prst="rect">
            <a:avLst/>
          </a:prstGeom>
        </p:spPr>
      </p:pic>
      <p:pic>
        <p:nvPicPr>
          <p:cNvPr id="407" name="Picture 406">
            <a:extLst>
              <a:ext uri="{FF2B5EF4-FFF2-40B4-BE49-F238E27FC236}">
                <a16:creationId xmlns:a16="http://schemas.microsoft.com/office/drawing/2014/main" id="{60D7EC4A-8C12-25A1-BA00-83483991ABDD}"/>
              </a:ext>
            </a:extLst>
          </p:cNvPr>
          <p:cNvPicPr>
            <a:picLocks noChangeAspect="1"/>
          </p:cNvPicPr>
          <p:nvPr/>
        </p:nvPicPr>
        <p:blipFill>
          <a:blip r:embed="rId29">
            <a:duotone>
              <a:schemeClr val="accent1">
                <a:shade val="45000"/>
                <a:satMod val="135000"/>
              </a:schemeClr>
              <a:prstClr val="white"/>
            </a:duotone>
          </a:blip>
          <a:stretch>
            <a:fillRect/>
          </a:stretch>
        </p:blipFill>
        <p:spPr>
          <a:xfrm>
            <a:off x="5059470" y="2111293"/>
            <a:ext cx="331200" cy="331200"/>
          </a:xfrm>
          <a:prstGeom prst="rect">
            <a:avLst/>
          </a:prstGeom>
        </p:spPr>
      </p:pic>
      <p:pic>
        <p:nvPicPr>
          <p:cNvPr id="408" name="Picture 407">
            <a:extLst>
              <a:ext uri="{FF2B5EF4-FFF2-40B4-BE49-F238E27FC236}">
                <a16:creationId xmlns:a16="http://schemas.microsoft.com/office/drawing/2014/main" id="{BC04AEB6-AD4C-776C-5153-4E03FE365D1A}"/>
              </a:ext>
            </a:extLst>
          </p:cNvPr>
          <p:cNvPicPr>
            <a:picLocks noChangeAspect="1"/>
          </p:cNvPicPr>
          <p:nvPr/>
        </p:nvPicPr>
        <p:blipFill>
          <a:blip r:embed="rId29">
            <a:duotone>
              <a:schemeClr val="accent1">
                <a:shade val="45000"/>
                <a:satMod val="135000"/>
              </a:schemeClr>
              <a:prstClr val="white"/>
            </a:duotone>
          </a:blip>
          <a:stretch>
            <a:fillRect/>
          </a:stretch>
        </p:blipFill>
        <p:spPr>
          <a:xfrm>
            <a:off x="2661167" y="5482206"/>
            <a:ext cx="216000" cy="216000"/>
          </a:xfrm>
          <a:prstGeom prst="rect">
            <a:avLst/>
          </a:prstGeom>
        </p:spPr>
      </p:pic>
      <p:grpSp>
        <p:nvGrpSpPr>
          <p:cNvPr id="432" name="Group 431">
            <a:extLst>
              <a:ext uri="{FF2B5EF4-FFF2-40B4-BE49-F238E27FC236}">
                <a16:creationId xmlns:a16="http://schemas.microsoft.com/office/drawing/2014/main" id="{6131F9D8-483F-D1A3-ADCA-6B314765F735}"/>
              </a:ext>
            </a:extLst>
          </p:cNvPr>
          <p:cNvGrpSpPr/>
          <p:nvPr/>
        </p:nvGrpSpPr>
        <p:grpSpPr>
          <a:xfrm>
            <a:off x="513736" y="1960407"/>
            <a:ext cx="3181262" cy="2886396"/>
            <a:chOff x="657033" y="1997841"/>
            <a:chExt cx="3181262" cy="2886396"/>
          </a:xfrm>
        </p:grpSpPr>
        <p:grpSp>
          <p:nvGrpSpPr>
            <p:cNvPr id="110" name="Group 109">
              <a:extLst>
                <a:ext uri="{FF2B5EF4-FFF2-40B4-BE49-F238E27FC236}">
                  <a16:creationId xmlns:a16="http://schemas.microsoft.com/office/drawing/2014/main" id="{EEF05590-ADD2-EA7B-D9DA-0B3833895EE2}"/>
                </a:ext>
              </a:extLst>
            </p:cNvPr>
            <p:cNvGrpSpPr/>
            <p:nvPr/>
          </p:nvGrpSpPr>
          <p:grpSpPr>
            <a:xfrm>
              <a:off x="657033" y="1997841"/>
              <a:ext cx="3181262" cy="2886396"/>
              <a:chOff x="664418" y="3866364"/>
              <a:chExt cx="3181262" cy="2273464"/>
            </a:xfrm>
          </p:grpSpPr>
          <p:pic>
            <p:nvPicPr>
              <p:cNvPr id="113" name="Graphic 112" descr="Tricycle with solid fill">
                <a:extLst>
                  <a:ext uri="{FF2B5EF4-FFF2-40B4-BE49-F238E27FC236}">
                    <a16:creationId xmlns:a16="http://schemas.microsoft.com/office/drawing/2014/main" id="{48547DEA-1BF4-D6BF-3AF0-25EB1DDD046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867136" y="3882198"/>
                <a:ext cx="350880" cy="356888"/>
              </a:xfrm>
              <a:prstGeom prst="rect">
                <a:avLst/>
              </a:prstGeom>
            </p:spPr>
          </p:pic>
          <p:cxnSp>
            <p:nvCxnSpPr>
              <p:cNvPr id="114" name="Straight Connector 113">
                <a:extLst>
                  <a:ext uri="{FF2B5EF4-FFF2-40B4-BE49-F238E27FC236}">
                    <a16:creationId xmlns:a16="http://schemas.microsoft.com/office/drawing/2014/main" id="{C5326BBE-3799-C2B1-0B5E-5E265418837F}"/>
                  </a:ext>
                </a:extLst>
              </p:cNvPr>
              <p:cNvCxnSpPr>
                <a:cxnSpLocks/>
              </p:cNvCxnSpPr>
              <p:nvPr/>
            </p:nvCxnSpPr>
            <p:spPr>
              <a:xfrm flipV="1">
                <a:off x="812889" y="4275657"/>
                <a:ext cx="281291" cy="330799"/>
              </a:xfrm>
              <a:prstGeom prst="line">
                <a:avLst/>
              </a:prstGeom>
              <a:ln w="12700">
                <a:solidFill>
                  <a:schemeClr val="tx2">
                    <a:lumMod val="60000"/>
                    <a:lumOff val="40000"/>
                  </a:schemeClr>
                </a:solidFill>
                <a:tailEnd type="none"/>
              </a:ln>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D48689B6-3A48-AC4B-A29B-09106D4AE273}"/>
                  </a:ext>
                </a:extLst>
              </p:cNvPr>
              <p:cNvCxnSpPr>
                <a:cxnSpLocks/>
              </p:cNvCxnSpPr>
              <p:nvPr/>
            </p:nvCxnSpPr>
            <p:spPr>
              <a:xfrm flipH="1">
                <a:off x="1094180" y="4258973"/>
                <a:ext cx="163595" cy="16685"/>
              </a:xfrm>
              <a:prstGeom prst="line">
                <a:avLst/>
              </a:prstGeom>
              <a:ln w="12700">
                <a:solidFill>
                  <a:schemeClr val="tx2">
                    <a:lumMod val="60000"/>
                    <a:lumOff val="40000"/>
                  </a:schemeClr>
                </a:solidFill>
                <a:tailEnd type="none"/>
              </a:ln>
            </p:spPr>
            <p:style>
              <a:lnRef idx="1">
                <a:schemeClr val="dk1"/>
              </a:lnRef>
              <a:fillRef idx="0">
                <a:schemeClr val="dk1"/>
              </a:fillRef>
              <a:effectRef idx="0">
                <a:schemeClr val="dk1"/>
              </a:effectRef>
              <a:fontRef idx="minor">
                <a:schemeClr val="tx1"/>
              </a:fontRef>
            </p:style>
          </p:cxnSp>
          <p:sp>
            <p:nvSpPr>
              <p:cNvPr id="116" name="Oval 115">
                <a:extLst>
                  <a:ext uri="{FF2B5EF4-FFF2-40B4-BE49-F238E27FC236}">
                    <a16:creationId xmlns:a16="http://schemas.microsoft.com/office/drawing/2014/main" id="{D07C1DF2-ECA4-356E-46C8-DD97221E1783}"/>
                  </a:ext>
                </a:extLst>
              </p:cNvPr>
              <p:cNvSpPr/>
              <p:nvPr/>
            </p:nvSpPr>
            <p:spPr>
              <a:xfrm>
                <a:off x="1211315" y="4220080"/>
                <a:ext cx="87720" cy="89222"/>
              </a:xfrm>
              <a:prstGeom prst="ellipse">
                <a:avLst/>
              </a:prstGeom>
              <a:solidFill>
                <a:schemeClr val="bg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a:solidFill>
                    <a:schemeClr val="tx1"/>
                  </a:solidFill>
                  <a:latin typeface="+mj-lt"/>
                </a:endParaRPr>
              </a:p>
            </p:txBody>
          </p:sp>
          <p:sp>
            <p:nvSpPr>
              <p:cNvPr id="117" name="TextBox 116">
                <a:extLst>
                  <a:ext uri="{FF2B5EF4-FFF2-40B4-BE49-F238E27FC236}">
                    <a16:creationId xmlns:a16="http://schemas.microsoft.com/office/drawing/2014/main" id="{CA58B2F3-3E36-59BC-E1B6-8597B3E29204}"/>
                  </a:ext>
                </a:extLst>
              </p:cNvPr>
              <p:cNvSpPr txBox="1"/>
              <p:nvPr/>
            </p:nvSpPr>
            <p:spPr>
              <a:xfrm>
                <a:off x="1011476" y="4004982"/>
                <a:ext cx="786216" cy="352276"/>
              </a:xfrm>
              <a:prstGeom prst="rect">
                <a:avLst/>
              </a:prstGeom>
              <a:solidFill>
                <a:schemeClr val="bg1"/>
              </a:solidFill>
            </p:spPr>
            <p:txBody>
              <a:bodyPr wrap="square" lIns="0" tIns="36576" rIns="0" bIns="0" rtlCol="0">
                <a:spAutoFit/>
              </a:bodyPr>
              <a:lstStyle/>
              <a:p>
                <a:pPr algn="ctr">
                  <a:lnSpc>
                    <a:spcPct val="85000"/>
                  </a:lnSpc>
                  <a:spcAft>
                    <a:spcPts val="600"/>
                  </a:spcAft>
                  <a:buClr>
                    <a:schemeClr val="accent2"/>
                  </a:buClr>
                  <a:buSzPct val="70000"/>
                </a:pPr>
                <a:r>
                  <a:rPr lang="en-AU" sz="1200" b="1" dirty="0">
                    <a:solidFill>
                      <a:schemeClr val="tx2"/>
                    </a:solidFill>
                    <a:latin typeface="+mj-lt"/>
                  </a:rPr>
                  <a:t>Head, face, and neck </a:t>
                </a:r>
              </a:p>
            </p:txBody>
          </p:sp>
          <p:sp>
            <p:nvSpPr>
              <p:cNvPr id="122" name="Rectangle 121">
                <a:extLst>
                  <a:ext uri="{FF2B5EF4-FFF2-40B4-BE49-F238E27FC236}">
                    <a16:creationId xmlns:a16="http://schemas.microsoft.com/office/drawing/2014/main" id="{B2571AB1-9824-4811-7AAB-65F33F280A5A}"/>
                  </a:ext>
                </a:extLst>
              </p:cNvPr>
              <p:cNvSpPr/>
              <p:nvPr/>
            </p:nvSpPr>
            <p:spPr>
              <a:xfrm>
                <a:off x="2224328" y="3954119"/>
                <a:ext cx="44633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dirty="0">
                    <a:solidFill>
                      <a:schemeClr val="accent5">
                        <a:lumMod val="60000"/>
                        <a:lumOff val="40000"/>
                      </a:schemeClr>
                    </a:solidFill>
                    <a:latin typeface="+mj-lt"/>
                  </a:rPr>
                  <a:t>43%</a:t>
                </a:r>
              </a:p>
            </p:txBody>
          </p:sp>
          <p:sp>
            <p:nvSpPr>
              <p:cNvPr id="165" name="Rectangle 164">
                <a:extLst>
                  <a:ext uri="{FF2B5EF4-FFF2-40B4-BE49-F238E27FC236}">
                    <a16:creationId xmlns:a16="http://schemas.microsoft.com/office/drawing/2014/main" id="{20C03E03-8E4B-38EE-689D-C46DC7D26FA3}"/>
                  </a:ext>
                </a:extLst>
              </p:cNvPr>
              <p:cNvSpPr/>
              <p:nvPr/>
            </p:nvSpPr>
            <p:spPr>
              <a:xfrm>
                <a:off x="2188906" y="4264043"/>
                <a:ext cx="516993" cy="1696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dirty="0">
                    <a:solidFill>
                      <a:srgbClr val="385CD7"/>
                    </a:solidFill>
                    <a:latin typeface="+mj-lt"/>
                  </a:rPr>
                  <a:t>32%</a:t>
                </a:r>
              </a:p>
            </p:txBody>
          </p:sp>
          <p:cxnSp>
            <p:nvCxnSpPr>
              <p:cNvPr id="166" name="Straight Connector 165">
                <a:extLst>
                  <a:ext uri="{FF2B5EF4-FFF2-40B4-BE49-F238E27FC236}">
                    <a16:creationId xmlns:a16="http://schemas.microsoft.com/office/drawing/2014/main" id="{2FBC4EB0-63B2-668A-1339-C735F103490B}"/>
                  </a:ext>
                </a:extLst>
              </p:cNvPr>
              <p:cNvCxnSpPr>
                <a:cxnSpLocks/>
              </p:cNvCxnSpPr>
              <p:nvPr/>
            </p:nvCxnSpPr>
            <p:spPr>
              <a:xfrm flipV="1">
                <a:off x="664418" y="4987182"/>
                <a:ext cx="469595" cy="9286"/>
              </a:xfrm>
              <a:prstGeom prst="line">
                <a:avLst/>
              </a:prstGeom>
              <a:ln w="12700">
                <a:solidFill>
                  <a:schemeClr val="tx2">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167" name="Oval 166">
                <a:extLst>
                  <a:ext uri="{FF2B5EF4-FFF2-40B4-BE49-F238E27FC236}">
                    <a16:creationId xmlns:a16="http://schemas.microsoft.com/office/drawing/2014/main" id="{5469C387-1AE3-A005-5060-88E1C39DD8C9}"/>
                  </a:ext>
                </a:extLst>
              </p:cNvPr>
              <p:cNvSpPr/>
              <p:nvPr/>
            </p:nvSpPr>
            <p:spPr>
              <a:xfrm>
                <a:off x="1100068" y="4943721"/>
                <a:ext cx="87720" cy="89222"/>
              </a:xfrm>
              <a:prstGeom prst="ellipse">
                <a:avLst/>
              </a:prstGeom>
              <a:solidFill>
                <a:schemeClr val="bg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a:solidFill>
                    <a:schemeClr val="tx1"/>
                  </a:solidFill>
                  <a:latin typeface="+mj-lt"/>
                </a:endParaRPr>
              </a:p>
            </p:txBody>
          </p:sp>
          <p:sp>
            <p:nvSpPr>
              <p:cNvPr id="168" name="TextBox 167">
                <a:extLst>
                  <a:ext uri="{FF2B5EF4-FFF2-40B4-BE49-F238E27FC236}">
                    <a16:creationId xmlns:a16="http://schemas.microsoft.com/office/drawing/2014/main" id="{3D1752B7-AB58-10DB-7A4D-752CF80CDF92}"/>
                  </a:ext>
                </a:extLst>
              </p:cNvPr>
              <p:cNvSpPr txBox="1"/>
              <p:nvPr/>
            </p:nvSpPr>
            <p:spPr>
              <a:xfrm>
                <a:off x="1215599" y="4738103"/>
                <a:ext cx="895570" cy="509242"/>
              </a:xfrm>
              <a:prstGeom prst="rect">
                <a:avLst/>
              </a:prstGeom>
              <a:solidFill>
                <a:schemeClr val="bg1"/>
              </a:solidFill>
            </p:spPr>
            <p:txBody>
              <a:bodyPr wrap="square" lIns="0" tIns="36576" rIns="0" bIns="0" rtlCol="0">
                <a:spAutoFit/>
              </a:bodyPr>
              <a:lstStyle/>
              <a:p>
                <a:pPr algn="ctr">
                  <a:lnSpc>
                    <a:spcPct val="85000"/>
                  </a:lnSpc>
                  <a:spcAft>
                    <a:spcPts val="600"/>
                  </a:spcAft>
                  <a:buClr>
                    <a:schemeClr val="accent2"/>
                  </a:buClr>
                  <a:buSzPct val="70000"/>
                </a:pPr>
                <a:r>
                  <a:rPr lang="en-AU" sz="1200" b="1" dirty="0">
                    <a:solidFill>
                      <a:schemeClr val="tx2"/>
                    </a:solidFill>
                    <a:latin typeface="+mj-lt"/>
                  </a:rPr>
                  <a:t>Thorax, chest, pelvis, spine and abdomen</a:t>
                </a:r>
              </a:p>
            </p:txBody>
          </p:sp>
          <p:cxnSp>
            <p:nvCxnSpPr>
              <p:cNvPr id="170" name="Straight Connector 169">
                <a:extLst>
                  <a:ext uri="{FF2B5EF4-FFF2-40B4-BE49-F238E27FC236}">
                    <a16:creationId xmlns:a16="http://schemas.microsoft.com/office/drawing/2014/main" id="{21693CAE-BF00-7827-7112-6ECE45E7C625}"/>
                  </a:ext>
                </a:extLst>
              </p:cNvPr>
              <p:cNvCxnSpPr>
                <a:cxnSpLocks/>
              </p:cNvCxnSpPr>
              <p:nvPr/>
            </p:nvCxnSpPr>
            <p:spPr>
              <a:xfrm>
                <a:off x="871755" y="5157485"/>
                <a:ext cx="290546" cy="655264"/>
              </a:xfrm>
              <a:prstGeom prst="line">
                <a:avLst/>
              </a:prstGeom>
              <a:ln w="12700">
                <a:solidFill>
                  <a:schemeClr val="tx2">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AB4325E9-1EF3-9D68-FC93-698505B584C1}"/>
                  </a:ext>
                </a:extLst>
              </p:cNvPr>
              <p:cNvCxnSpPr>
                <a:cxnSpLocks/>
              </p:cNvCxnSpPr>
              <p:nvPr/>
            </p:nvCxnSpPr>
            <p:spPr>
              <a:xfrm>
                <a:off x="1149092" y="5806454"/>
                <a:ext cx="153307" cy="12550"/>
              </a:xfrm>
              <a:prstGeom prst="line">
                <a:avLst/>
              </a:prstGeom>
              <a:ln w="12700">
                <a:solidFill>
                  <a:schemeClr val="tx2">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174" name="Oval 173">
                <a:extLst>
                  <a:ext uri="{FF2B5EF4-FFF2-40B4-BE49-F238E27FC236}">
                    <a16:creationId xmlns:a16="http://schemas.microsoft.com/office/drawing/2014/main" id="{DA55B6F9-26FC-5E3E-76A4-1250784F5606}"/>
                  </a:ext>
                </a:extLst>
              </p:cNvPr>
              <p:cNvSpPr/>
              <p:nvPr/>
            </p:nvSpPr>
            <p:spPr>
              <a:xfrm>
                <a:off x="1277552" y="5766385"/>
                <a:ext cx="87720" cy="89222"/>
              </a:xfrm>
              <a:prstGeom prst="ellipse">
                <a:avLst/>
              </a:prstGeom>
              <a:solidFill>
                <a:srgbClr val="C4C4CD"/>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a:solidFill>
                    <a:schemeClr val="tx1"/>
                  </a:solidFill>
                  <a:latin typeface="+mj-lt"/>
                </a:endParaRPr>
              </a:p>
            </p:txBody>
          </p:sp>
          <p:pic>
            <p:nvPicPr>
              <p:cNvPr id="176" name="Graphic 175" descr="Motorcycle with solid fill">
                <a:extLst>
                  <a:ext uri="{FF2B5EF4-FFF2-40B4-BE49-F238E27FC236}">
                    <a16:creationId xmlns:a16="http://schemas.microsoft.com/office/drawing/2014/main" id="{64D95D97-16EA-0CFB-669E-CED63559EDCA}"/>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694402" y="3866364"/>
                <a:ext cx="350880" cy="356888"/>
              </a:xfrm>
              <a:prstGeom prst="rect">
                <a:avLst/>
              </a:prstGeom>
            </p:spPr>
          </p:pic>
          <p:pic>
            <p:nvPicPr>
              <p:cNvPr id="178" name="Graphic 177" descr="Car with solid fill">
                <a:extLst>
                  <a:ext uri="{FF2B5EF4-FFF2-40B4-BE49-F238E27FC236}">
                    <a16:creationId xmlns:a16="http://schemas.microsoft.com/office/drawing/2014/main" id="{5E8A8E57-780D-815B-8358-D54E782EA030}"/>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714859" y="4199015"/>
                <a:ext cx="350880" cy="356888"/>
              </a:xfrm>
              <a:prstGeom prst="rect">
                <a:avLst/>
              </a:prstGeom>
            </p:spPr>
          </p:pic>
          <p:sp>
            <p:nvSpPr>
              <p:cNvPr id="180" name="Rectangle 179">
                <a:extLst>
                  <a:ext uri="{FF2B5EF4-FFF2-40B4-BE49-F238E27FC236}">
                    <a16:creationId xmlns:a16="http://schemas.microsoft.com/office/drawing/2014/main" id="{5698F2D7-C44E-4E8B-2A34-EBF2AA363D60}"/>
                  </a:ext>
                </a:extLst>
              </p:cNvPr>
              <p:cNvSpPr/>
              <p:nvPr/>
            </p:nvSpPr>
            <p:spPr>
              <a:xfrm>
                <a:off x="3032761" y="3947602"/>
                <a:ext cx="44633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a:solidFill>
                      <a:schemeClr val="accent6"/>
                    </a:solidFill>
                    <a:latin typeface="+mj-lt"/>
                  </a:rPr>
                  <a:t>5%</a:t>
                </a:r>
              </a:p>
            </p:txBody>
          </p:sp>
          <p:sp>
            <p:nvSpPr>
              <p:cNvPr id="181" name="Rectangle 180">
                <a:extLst>
                  <a:ext uri="{FF2B5EF4-FFF2-40B4-BE49-F238E27FC236}">
                    <a16:creationId xmlns:a16="http://schemas.microsoft.com/office/drawing/2014/main" id="{7B6D4C86-1B21-8CF0-4FCC-547D156EC67B}"/>
                  </a:ext>
                </a:extLst>
              </p:cNvPr>
              <p:cNvSpPr/>
              <p:nvPr/>
            </p:nvSpPr>
            <p:spPr>
              <a:xfrm>
                <a:off x="3045283" y="4261311"/>
                <a:ext cx="44633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dirty="0">
                    <a:solidFill>
                      <a:srgbClr val="0070C0"/>
                    </a:solidFill>
                    <a:latin typeface="+mj-lt"/>
                  </a:rPr>
                  <a:t>7%</a:t>
                </a:r>
              </a:p>
            </p:txBody>
          </p:sp>
          <p:pic>
            <p:nvPicPr>
              <p:cNvPr id="183" name="Graphic 182" descr="Tricycle with solid fill">
                <a:extLst>
                  <a:ext uri="{FF2B5EF4-FFF2-40B4-BE49-F238E27FC236}">
                    <a16:creationId xmlns:a16="http://schemas.microsoft.com/office/drawing/2014/main" id="{DF32FE31-974B-94D3-775C-0C93FB7B8958}"/>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225388" y="4674877"/>
                <a:ext cx="350880" cy="356888"/>
              </a:xfrm>
              <a:prstGeom prst="rect">
                <a:avLst/>
              </a:prstGeom>
            </p:spPr>
          </p:pic>
          <p:sp>
            <p:nvSpPr>
              <p:cNvPr id="184" name="Rectangle 183">
                <a:extLst>
                  <a:ext uri="{FF2B5EF4-FFF2-40B4-BE49-F238E27FC236}">
                    <a16:creationId xmlns:a16="http://schemas.microsoft.com/office/drawing/2014/main" id="{E5A5FD86-D535-900F-0749-6767365FF1E8}"/>
                  </a:ext>
                </a:extLst>
              </p:cNvPr>
              <p:cNvSpPr/>
              <p:nvPr/>
            </p:nvSpPr>
            <p:spPr>
              <a:xfrm>
                <a:off x="2582580" y="4746798"/>
                <a:ext cx="44633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dirty="0">
                    <a:solidFill>
                      <a:schemeClr val="accent5">
                        <a:lumMod val="60000"/>
                        <a:lumOff val="40000"/>
                      </a:schemeClr>
                    </a:solidFill>
                    <a:latin typeface="+mj-lt"/>
                  </a:rPr>
                  <a:t>27%</a:t>
                </a:r>
              </a:p>
            </p:txBody>
          </p:sp>
          <p:sp>
            <p:nvSpPr>
              <p:cNvPr id="185" name="Rectangle 184">
                <a:extLst>
                  <a:ext uri="{FF2B5EF4-FFF2-40B4-BE49-F238E27FC236}">
                    <a16:creationId xmlns:a16="http://schemas.microsoft.com/office/drawing/2014/main" id="{09AF079E-8512-3625-47EF-BE349A99725E}"/>
                  </a:ext>
                </a:extLst>
              </p:cNvPr>
              <p:cNvSpPr/>
              <p:nvPr/>
            </p:nvSpPr>
            <p:spPr>
              <a:xfrm>
                <a:off x="2547158" y="5056721"/>
                <a:ext cx="516993" cy="1696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dirty="0">
                    <a:solidFill>
                      <a:srgbClr val="385CD7"/>
                    </a:solidFill>
                    <a:latin typeface="+mj-lt"/>
                  </a:rPr>
                  <a:t>8%</a:t>
                </a:r>
              </a:p>
            </p:txBody>
          </p:sp>
          <p:pic>
            <p:nvPicPr>
              <p:cNvPr id="186" name="Graphic 185" descr="Motorcycle with solid fill">
                <a:extLst>
                  <a:ext uri="{FF2B5EF4-FFF2-40B4-BE49-F238E27FC236}">
                    <a16:creationId xmlns:a16="http://schemas.microsoft.com/office/drawing/2014/main" id="{945D8E76-84BC-3AA0-C410-4530FFA3071B}"/>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052654" y="4659043"/>
                <a:ext cx="350880" cy="356888"/>
              </a:xfrm>
              <a:prstGeom prst="rect">
                <a:avLst/>
              </a:prstGeom>
            </p:spPr>
          </p:pic>
          <p:pic>
            <p:nvPicPr>
              <p:cNvPr id="187" name="Graphic 186" descr="Car with solid fill">
                <a:extLst>
                  <a:ext uri="{FF2B5EF4-FFF2-40B4-BE49-F238E27FC236}">
                    <a16:creationId xmlns:a16="http://schemas.microsoft.com/office/drawing/2014/main" id="{F6638638-82E4-205C-F584-78F7CBD9395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073110" y="4991693"/>
                <a:ext cx="350880" cy="356888"/>
              </a:xfrm>
              <a:prstGeom prst="rect">
                <a:avLst/>
              </a:prstGeom>
            </p:spPr>
          </p:pic>
          <p:sp>
            <p:nvSpPr>
              <p:cNvPr id="188" name="Rectangle 187">
                <a:extLst>
                  <a:ext uri="{FF2B5EF4-FFF2-40B4-BE49-F238E27FC236}">
                    <a16:creationId xmlns:a16="http://schemas.microsoft.com/office/drawing/2014/main" id="{45B98CE9-049D-67A8-E972-F0B98179E1A9}"/>
                  </a:ext>
                </a:extLst>
              </p:cNvPr>
              <p:cNvSpPr/>
              <p:nvPr/>
            </p:nvSpPr>
            <p:spPr>
              <a:xfrm>
                <a:off x="3391012" y="4740280"/>
                <a:ext cx="44633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a:solidFill>
                      <a:schemeClr val="accent6"/>
                    </a:solidFill>
                    <a:latin typeface="+mj-lt"/>
                  </a:rPr>
                  <a:t>24%</a:t>
                </a:r>
              </a:p>
            </p:txBody>
          </p:sp>
          <p:sp>
            <p:nvSpPr>
              <p:cNvPr id="189" name="Rectangle 188">
                <a:extLst>
                  <a:ext uri="{FF2B5EF4-FFF2-40B4-BE49-F238E27FC236}">
                    <a16:creationId xmlns:a16="http://schemas.microsoft.com/office/drawing/2014/main" id="{C500E9E8-3EDE-FE11-1F5E-A0AD6959F3DD}"/>
                  </a:ext>
                </a:extLst>
              </p:cNvPr>
              <p:cNvSpPr/>
              <p:nvPr/>
            </p:nvSpPr>
            <p:spPr>
              <a:xfrm>
                <a:off x="3399350" y="5053989"/>
                <a:ext cx="44633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a:solidFill>
                      <a:srgbClr val="0070C0"/>
                    </a:solidFill>
                    <a:latin typeface="+mj-lt"/>
                  </a:rPr>
                  <a:t>64%</a:t>
                </a:r>
              </a:p>
            </p:txBody>
          </p:sp>
          <p:pic>
            <p:nvPicPr>
              <p:cNvPr id="191" name="Graphic 190" descr="Tricycle with solid fill">
                <a:extLst>
                  <a:ext uri="{FF2B5EF4-FFF2-40B4-BE49-F238E27FC236}">
                    <a16:creationId xmlns:a16="http://schemas.microsoft.com/office/drawing/2014/main" id="{F72CCF14-DDC1-B331-C636-4A260C4F59F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987160" y="5466123"/>
                <a:ext cx="350880" cy="356888"/>
              </a:xfrm>
              <a:prstGeom prst="rect">
                <a:avLst/>
              </a:prstGeom>
            </p:spPr>
          </p:pic>
          <p:sp>
            <p:nvSpPr>
              <p:cNvPr id="192" name="Rectangle 191">
                <a:extLst>
                  <a:ext uri="{FF2B5EF4-FFF2-40B4-BE49-F238E27FC236}">
                    <a16:creationId xmlns:a16="http://schemas.microsoft.com/office/drawing/2014/main" id="{1F0C6884-F63D-53CC-3496-EE72701A6C03}"/>
                  </a:ext>
                </a:extLst>
              </p:cNvPr>
              <p:cNvSpPr/>
              <p:nvPr/>
            </p:nvSpPr>
            <p:spPr>
              <a:xfrm>
                <a:off x="2344352" y="5538044"/>
                <a:ext cx="44633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dirty="0">
                    <a:solidFill>
                      <a:schemeClr val="accent5">
                        <a:lumMod val="60000"/>
                        <a:lumOff val="40000"/>
                      </a:schemeClr>
                    </a:solidFill>
                    <a:latin typeface="+mj-lt"/>
                  </a:rPr>
                  <a:t>29%</a:t>
                </a:r>
              </a:p>
            </p:txBody>
          </p:sp>
          <p:sp>
            <p:nvSpPr>
              <p:cNvPr id="193" name="Rectangle 192">
                <a:extLst>
                  <a:ext uri="{FF2B5EF4-FFF2-40B4-BE49-F238E27FC236}">
                    <a16:creationId xmlns:a16="http://schemas.microsoft.com/office/drawing/2014/main" id="{F0C3E214-02E9-1C89-D9A7-A625E35F8BCE}"/>
                  </a:ext>
                </a:extLst>
              </p:cNvPr>
              <p:cNvSpPr/>
              <p:nvPr/>
            </p:nvSpPr>
            <p:spPr>
              <a:xfrm>
                <a:off x="2308929" y="5847968"/>
                <a:ext cx="516993" cy="1696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dirty="0">
                    <a:solidFill>
                      <a:srgbClr val="385CD7"/>
                    </a:solidFill>
                    <a:latin typeface="+mj-lt"/>
                  </a:rPr>
                  <a:t>48%</a:t>
                </a:r>
              </a:p>
            </p:txBody>
          </p:sp>
          <p:pic>
            <p:nvPicPr>
              <p:cNvPr id="194" name="Graphic 193" descr="Motorcycle with solid fill">
                <a:extLst>
                  <a:ext uri="{FF2B5EF4-FFF2-40B4-BE49-F238E27FC236}">
                    <a16:creationId xmlns:a16="http://schemas.microsoft.com/office/drawing/2014/main" id="{DA309A9D-E8A5-A241-4274-E1A9C6E9801C}"/>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814426" y="5450289"/>
                <a:ext cx="350880" cy="356888"/>
              </a:xfrm>
              <a:prstGeom prst="rect">
                <a:avLst/>
              </a:prstGeom>
            </p:spPr>
          </p:pic>
          <p:pic>
            <p:nvPicPr>
              <p:cNvPr id="195" name="Graphic 194" descr="Car with solid fill">
                <a:extLst>
                  <a:ext uri="{FF2B5EF4-FFF2-40B4-BE49-F238E27FC236}">
                    <a16:creationId xmlns:a16="http://schemas.microsoft.com/office/drawing/2014/main" id="{9B4018D8-EA9C-5005-2A05-61FC2D445B84}"/>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834882" y="5782940"/>
                <a:ext cx="350880" cy="356888"/>
              </a:xfrm>
              <a:prstGeom prst="rect">
                <a:avLst/>
              </a:prstGeom>
            </p:spPr>
          </p:pic>
          <p:sp>
            <p:nvSpPr>
              <p:cNvPr id="196" name="Rectangle 195">
                <a:extLst>
                  <a:ext uri="{FF2B5EF4-FFF2-40B4-BE49-F238E27FC236}">
                    <a16:creationId xmlns:a16="http://schemas.microsoft.com/office/drawing/2014/main" id="{AB84DF71-70BC-E440-ED4F-EE55ECFA7AF8}"/>
                  </a:ext>
                </a:extLst>
              </p:cNvPr>
              <p:cNvSpPr/>
              <p:nvPr/>
            </p:nvSpPr>
            <p:spPr>
              <a:xfrm>
                <a:off x="3152784" y="5531527"/>
                <a:ext cx="44633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dirty="0">
                    <a:solidFill>
                      <a:schemeClr val="accent6"/>
                    </a:solidFill>
                    <a:latin typeface="+mj-lt"/>
                  </a:rPr>
                  <a:t>72%</a:t>
                </a:r>
              </a:p>
            </p:txBody>
          </p:sp>
          <p:sp>
            <p:nvSpPr>
              <p:cNvPr id="197" name="Rectangle 196">
                <a:extLst>
                  <a:ext uri="{FF2B5EF4-FFF2-40B4-BE49-F238E27FC236}">
                    <a16:creationId xmlns:a16="http://schemas.microsoft.com/office/drawing/2014/main" id="{A7DE932F-96BE-1363-515A-7EE3E6308D3B}"/>
                  </a:ext>
                </a:extLst>
              </p:cNvPr>
              <p:cNvSpPr/>
              <p:nvPr/>
            </p:nvSpPr>
            <p:spPr>
              <a:xfrm>
                <a:off x="3165306" y="5845236"/>
                <a:ext cx="44633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a:solidFill>
                      <a:srgbClr val="0070C0"/>
                    </a:solidFill>
                    <a:latin typeface="+mj-lt"/>
                  </a:rPr>
                  <a:t>30%</a:t>
                </a:r>
              </a:p>
            </p:txBody>
          </p:sp>
          <p:sp>
            <p:nvSpPr>
              <p:cNvPr id="172" name="TextBox 171">
                <a:extLst>
                  <a:ext uri="{FF2B5EF4-FFF2-40B4-BE49-F238E27FC236}">
                    <a16:creationId xmlns:a16="http://schemas.microsoft.com/office/drawing/2014/main" id="{6B1EF3C9-90C5-5B0A-BBB5-7B85F97765D2}"/>
                  </a:ext>
                </a:extLst>
              </p:cNvPr>
              <p:cNvSpPr txBox="1"/>
              <p:nvPr/>
            </p:nvSpPr>
            <p:spPr>
              <a:xfrm>
                <a:off x="1190616" y="5714022"/>
                <a:ext cx="787921" cy="195310"/>
              </a:xfrm>
              <a:prstGeom prst="rect">
                <a:avLst/>
              </a:prstGeom>
              <a:solidFill>
                <a:schemeClr val="bg1"/>
              </a:solidFill>
            </p:spPr>
            <p:txBody>
              <a:bodyPr wrap="square" lIns="0" tIns="36576" rIns="0" bIns="0" rtlCol="0">
                <a:spAutoFit/>
              </a:bodyPr>
              <a:lstStyle/>
              <a:p>
                <a:pPr algn="ctr">
                  <a:lnSpc>
                    <a:spcPct val="85000"/>
                  </a:lnSpc>
                  <a:spcAft>
                    <a:spcPts val="600"/>
                  </a:spcAft>
                  <a:buClr>
                    <a:schemeClr val="accent2"/>
                  </a:buClr>
                  <a:buSzPct val="70000"/>
                </a:pPr>
                <a:r>
                  <a:rPr lang="en-AU" sz="1200" b="1" dirty="0">
                    <a:solidFill>
                      <a:schemeClr val="tx2"/>
                    </a:solidFill>
                    <a:latin typeface="+mj-lt"/>
                  </a:rPr>
                  <a:t>Extremities</a:t>
                </a:r>
              </a:p>
            </p:txBody>
          </p:sp>
        </p:grpSp>
        <p:pic>
          <p:nvPicPr>
            <p:cNvPr id="409" name="Picture 408">
              <a:extLst>
                <a:ext uri="{FF2B5EF4-FFF2-40B4-BE49-F238E27FC236}">
                  <a16:creationId xmlns:a16="http://schemas.microsoft.com/office/drawing/2014/main" id="{7188C7AF-50C4-0A68-23C9-8DB211EC58DE}"/>
                </a:ext>
              </a:extLst>
            </p:cNvPr>
            <p:cNvPicPr>
              <a:picLocks noChangeAspect="1"/>
            </p:cNvPicPr>
            <p:nvPr/>
          </p:nvPicPr>
          <p:blipFill>
            <a:blip r:embed="rId29">
              <a:duotone>
                <a:schemeClr val="accent1">
                  <a:shade val="45000"/>
                  <a:satMod val="135000"/>
                </a:schemeClr>
                <a:prstClr val="white"/>
              </a:duotone>
            </a:blip>
            <a:stretch>
              <a:fillRect/>
            </a:stretch>
          </p:blipFill>
          <p:spPr>
            <a:xfrm>
              <a:off x="1960134" y="4435496"/>
              <a:ext cx="331200" cy="331200"/>
            </a:xfrm>
            <a:prstGeom prst="rect">
              <a:avLst/>
            </a:prstGeom>
          </p:spPr>
        </p:pic>
        <p:pic>
          <p:nvPicPr>
            <p:cNvPr id="411" name="Picture 410">
              <a:extLst>
                <a:ext uri="{FF2B5EF4-FFF2-40B4-BE49-F238E27FC236}">
                  <a16:creationId xmlns:a16="http://schemas.microsoft.com/office/drawing/2014/main" id="{71A67DFD-BCF9-9CF1-3336-C99FCC2C1D47}"/>
                </a:ext>
              </a:extLst>
            </p:cNvPr>
            <p:cNvPicPr>
              <a:picLocks noChangeAspect="1"/>
            </p:cNvPicPr>
            <p:nvPr/>
          </p:nvPicPr>
          <p:blipFill>
            <a:blip r:embed="rId29">
              <a:duotone>
                <a:schemeClr val="accent1">
                  <a:shade val="45000"/>
                  <a:satMod val="135000"/>
                </a:schemeClr>
                <a:prstClr val="white"/>
              </a:duotone>
            </a:blip>
            <a:stretch>
              <a:fillRect/>
            </a:stretch>
          </p:blipFill>
          <p:spPr>
            <a:xfrm>
              <a:off x="2239617" y="3438930"/>
              <a:ext cx="331200" cy="331200"/>
            </a:xfrm>
            <a:prstGeom prst="rect">
              <a:avLst/>
            </a:prstGeom>
          </p:spPr>
        </p:pic>
        <p:pic>
          <p:nvPicPr>
            <p:cNvPr id="412" name="Picture 411">
              <a:extLst>
                <a:ext uri="{FF2B5EF4-FFF2-40B4-BE49-F238E27FC236}">
                  <a16:creationId xmlns:a16="http://schemas.microsoft.com/office/drawing/2014/main" id="{469F7837-BF06-59DE-2EA9-17EBD1EC3D8C}"/>
                </a:ext>
              </a:extLst>
            </p:cNvPr>
            <p:cNvPicPr>
              <a:picLocks noChangeAspect="1"/>
            </p:cNvPicPr>
            <p:nvPr/>
          </p:nvPicPr>
          <p:blipFill>
            <a:blip r:embed="rId29">
              <a:duotone>
                <a:schemeClr val="accent1">
                  <a:shade val="45000"/>
                  <a:satMod val="135000"/>
                </a:schemeClr>
                <a:prstClr val="white"/>
              </a:duotone>
            </a:blip>
            <a:stretch>
              <a:fillRect/>
            </a:stretch>
          </p:blipFill>
          <p:spPr>
            <a:xfrm>
              <a:off x="1865061" y="2450579"/>
              <a:ext cx="331200" cy="331200"/>
            </a:xfrm>
            <a:prstGeom prst="rect">
              <a:avLst/>
            </a:prstGeom>
          </p:spPr>
        </p:pic>
      </p:grpSp>
      <p:sp>
        <p:nvSpPr>
          <p:cNvPr id="423" name="Rectangle 422">
            <a:extLst>
              <a:ext uri="{FF2B5EF4-FFF2-40B4-BE49-F238E27FC236}">
                <a16:creationId xmlns:a16="http://schemas.microsoft.com/office/drawing/2014/main" id="{EBB3B76A-37B9-E975-FF16-0D26AC2D100E}"/>
              </a:ext>
            </a:extLst>
          </p:cNvPr>
          <p:cNvSpPr/>
          <p:nvPr/>
        </p:nvSpPr>
        <p:spPr>
          <a:xfrm>
            <a:off x="6520268" y="7050377"/>
            <a:ext cx="156887" cy="1584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400">
              <a:solidFill>
                <a:schemeClr val="bg1"/>
              </a:solidFill>
              <a:latin typeface="+mj-lt"/>
            </a:endParaRPr>
          </a:p>
        </p:txBody>
      </p:sp>
      <p:sp>
        <p:nvSpPr>
          <p:cNvPr id="424" name="Rectangle 423">
            <a:extLst>
              <a:ext uri="{FF2B5EF4-FFF2-40B4-BE49-F238E27FC236}">
                <a16:creationId xmlns:a16="http://schemas.microsoft.com/office/drawing/2014/main" id="{76240D3C-281C-41AE-AD54-B2B14C3A7C26}"/>
              </a:ext>
            </a:extLst>
          </p:cNvPr>
          <p:cNvSpPr>
            <a:spLocks/>
          </p:cNvSpPr>
          <p:nvPr/>
        </p:nvSpPr>
        <p:spPr>
          <a:xfrm>
            <a:off x="6672855" y="6963791"/>
            <a:ext cx="1201094" cy="26160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1071743" rtl="0" eaLnBrk="1" fontAlgn="auto" latinLnBrk="0" hangingPunct="1">
              <a:lnSpc>
                <a:spcPct val="100000"/>
              </a:lnSpc>
              <a:spcBef>
                <a:spcPts val="300"/>
              </a:spcBef>
              <a:spcAft>
                <a:spcPts val="300"/>
              </a:spcAft>
              <a:buClr>
                <a:srgbClr val="FFE600"/>
              </a:buClr>
              <a:buSzPct val="100000"/>
              <a:tabLst/>
              <a:defRPr/>
            </a:pPr>
            <a:r>
              <a:rPr kumimoji="0" lang="en-AU" sz="1400" b="0" i="0" u="none" strike="noStrike" kern="1200" cap="none" spc="0" normalizeH="0" baseline="0" noProof="0" dirty="0">
                <a:ln>
                  <a:noFill/>
                </a:ln>
                <a:solidFill>
                  <a:srgbClr val="2E2E38"/>
                </a:solidFill>
                <a:effectLst/>
                <a:uLnTx/>
                <a:uFillTx/>
                <a:latin typeface="+mj-lt"/>
              </a:rPr>
              <a:t>threshold</a:t>
            </a:r>
          </a:p>
          <a:p>
            <a:pPr marL="270000" marR="0" lvl="0" indent="-270000" algn="l" defTabSz="1071743" rtl="0" eaLnBrk="1" fontAlgn="auto" latinLnBrk="0" hangingPunct="1">
              <a:lnSpc>
                <a:spcPct val="100000"/>
              </a:lnSpc>
              <a:spcAft>
                <a:spcPts val="1200"/>
              </a:spcAft>
              <a:buClr>
                <a:srgbClr val="FFE600"/>
              </a:buClr>
              <a:buSzPct val="100000"/>
              <a:buFont typeface="Arial" panose="020B0604020202020204" pitchFamily="34" charset="0"/>
              <a:buChar char="►"/>
              <a:tabLst/>
              <a:defRPr/>
            </a:pPr>
            <a:endParaRPr lang="en-AU" sz="1400" dirty="0">
              <a:solidFill>
                <a:srgbClr val="2E2E38"/>
              </a:solidFill>
              <a:latin typeface="+mj-lt"/>
            </a:endParaRPr>
          </a:p>
        </p:txBody>
      </p:sp>
      <p:sp>
        <p:nvSpPr>
          <p:cNvPr id="425" name="Rectangle 424">
            <a:extLst>
              <a:ext uri="{FF2B5EF4-FFF2-40B4-BE49-F238E27FC236}">
                <a16:creationId xmlns:a16="http://schemas.microsoft.com/office/drawing/2014/main" id="{27B08DBA-733A-D6A2-6540-A1005A5CD7B0}"/>
              </a:ext>
            </a:extLst>
          </p:cNvPr>
          <p:cNvSpPr/>
          <p:nvPr/>
        </p:nvSpPr>
        <p:spPr>
          <a:xfrm>
            <a:off x="6521659" y="7974907"/>
            <a:ext cx="156887" cy="1584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400">
              <a:solidFill>
                <a:schemeClr val="bg1"/>
              </a:solidFill>
              <a:latin typeface="+mj-lt"/>
            </a:endParaRPr>
          </a:p>
        </p:txBody>
      </p:sp>
      <p:sp>
        <p:nvSpPr>
          <p:cNvPr id="426" name="Rectangle 425">
            <a:extLst>
              <a:ext uri="{FF2B5EF4-FFF2-40B4-BE49-F238E27FC236}">
                <a16:creationId xmlns:a16="http://schemas.microsoft.com/office/drawing/2014/main" id="{0D2DA4F0-F6E4-8F86-1273-F05453DAF869}"/>
              </a:ext>
            </a:extLst>
          </p:cNvPr>
          <p:cNvSpPr>
            <a:spLocks/>
          </p:cNvSpPr>
          <p:nvPr/>
        </p:nvSpPr>
        <p:spPr>
          <a:xfrm>
            <a:off x="6672855" y="7883898"/>
            <a:ext cx="1201094" cy="2616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1071743" rtl="0" eaLnBrk="1" fontAlgn="auto" latinLnBrk="0" hangingPunct="1">
              <a:lnSpc>
                <a:spcPct val="100000"/>
              </a:lnSpc>
              <a:spcBef>
                <a:spcPts val="300"/>
              </a:spcBef>
              <a:spcAft>
                <a:spcPts val="300"/>
              </a:spcAft>
              <a:buClr>
                <a:srgbClr val="FFE600"/>
              </a:buClr>
              <a:buSzPct val="100000"/>
              <a:tabLst/>
              <a:defRPr/>
            </a:pPr>
            <a:r>
              <a:rPr lang="en-AU" sz="1400" dirty="0">
                <a:solidFill>
                  <a:srgbClr val="2E2E38"/>
                </a:solidFill>
                <a:latin typeface="+mj-lt"/>
              </a:rPr>
              <a:t>fatality</a:t>
            </a:r>
          </a:p>
        </p:txBody>
      </p:sp>
      <p:sp>
        <p:nvSpPr>
          <p:cNvPr id="427" name="Rectangle 426">
            <a:extLst>
              <a:ext uri="{FF2B5EF4-FFF2-40B4-BE49-F238E27FC236}">
                <a16:creationId xmlns:a16="http://schemas.microsoft.com/office/drawing/2014/main" id="{D8F1C2FF-0BB1-7D28-3351-A31379C5DD47}"/>
              </a:ext>
            </a:extLst>
          </p:cNvPr>
          <p:cNvSpPr/>
          <p:nvPr/>
        </p:nvSpPr>
        <p:spPr>
          <a:xfrm>
            <a:off x="6518620" y="7519950"/>
            <a:ext cx="156887" cy="158400"/>
          </a:xfrm>
          <a:prstGeom prst="rect">
            <a:avLst/>
          </a:prstGeom>
          <a:solidFill>
            <a:schemeClr val="tx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400">
              <a:solidFill>
                <a:schemeClr val="bg1"/>
              </a:solidFill>
              <a:latin typeface="+mj-lt"/>
            </a:endParaRPr>
          </a:p>
        </p:txBody>
      </p:sp>
      <p:sp>
        <p:nvSpPr>
          <p:cNvPr id="428" name="Rectangle 427">
            <a:extLst>
              <a:ext uri="{FF2B5EF4-FFF2-40B4-BE49-F238E27FC236}">
                <a16:creationId xmlns:a16="http://schemas.microsoft.com/office/drawing/2014/main" id="{5F05874D-4E82-B1BF-A215-7551ADDD6E0A}"/>
              </a:ext>
            </a:extLst>
          </p:cNvPr>
          <p:cNvSpPr>
            <a:spLocks/>
          </p:cNvSpPr>
          <p:nvPr/>
        </p:nvSpPr>
        <p:spPr>
          <a:xfrm>
            <a:off x="6620081" y="7427710"/>
            <a:ext cx="1314637" cy="25387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1071743" rtl="0" eaLnBrk="1" fontAlgn="auto" latinLnBrk="0" hangingPunct="1">
              <a:lnSpc>
                <a:spcPct val="100000"/>
              </a:lnSpc>
              <a:spcBef>
                <a:spcPts val="300"/>
              </a:spcBef>
              <a:spcAft>
                <a:spcPts val="300"/>
              </a:spcAft>
              <a:buClr>
                <a:srgbClr val="FFE600"/>
              </a:buClr>
              <a:buSzPct val="100000"/>
              <a:tabLst/>
              <a:defRPr/>
            </a:pPr>
            <a:r>
              <a:rPr kumimoji="0" lang="en-AU" sz="1400" b="0" i="0" u="none" strike="noStrike" kern="1200" cap="none" spc="0" normalizeH="0" baseline="0" noProof="0" dirty="0">
                <a:ln>
                  <a:noFill/>
                </a:ln>
                <a:solidFill>
                  <a:srgbClr val="2E2E38"/>
                </a:solidFill>
                <a:effectLst/>
                <a:uLnTx/>
                <a:uFillTx/>
                <a:latin typeface="+mj-lt"/>
              </a:rPr>
              <a:t>non-threshold</a:t>
            </a:r>
          </a:p>
          <a:p>
            <a:pPr marL="270000" marR="0" lvl="0" indent="-270000" algn="l" defTabSz="1071743" rtl="0" eaLnBrk="1" fontAlgn="auto" latinLnBrk="0" hangingPunct="1">
              <a:lnSpc>
                <a:spcPct val="100000"/>
              </a:lnSpc>
              <a:spcAft>
                <a:spcPts val="1200"/>
              </a:spcAft>
              <a:buClr>
                <a:srgbClr val="FFE600"/>
              </a:buClr>
              <a:buSzPct val="100000"/>
              <a:buFont typeface="Arial" panose="020B0604020202020204" pitchFamily="34" charset="0"/>
              <a:buChar char="►"/>
              <a:tabLst/>
              <a:defRPr/>
            </a:pPr>
            <a:endParaRPr lang="en-AU" sz="1400" dirty="0">
              <a:solidFill>
                <a:srgbClr val="2E2E38"/>
              </a:solidFill>
              <a:latin typeface="+mj-lt"/>
            </a:endParaRPr>
          </a:p>
        </p:txBody>
      </p:sp>
      <p:pic>
        <p:nvPicPr>
          <p:cNvPr id="81" name="Graphic 80" descr="Man with solid fill">
            <a:extLst>
              <a:ext uri="{FF2B5EF4-FFF2-40B4-BE49-F238E27FC236}">
                <a16:creationId xmlns:a16="http://schemas.microsoft.com/office/drawing/2014/main" id="{D266D349-C414-FB75-FEF6-838A5B93A6AB}"/>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1256" y="2870369"/>
            <a:ext cx="1000246" cy="1017374"/>
          </a:xfrm>
          <a:prstGeom prst="rect">
            <a:avLst/>
          </a:prstGeom>
        </p:spPr>
      </p:pic>
      <p:grpSp>
        <p:nvGrpSpPr>
          <p:cNvPr id="434" name="Group 433">
            <a:extLst>
              <a:ext uri="{FF2B5EF4-FFF2-40B4-BE49-F238E27FC236}">
                <a16:creationId xmlns:a16="http://schemas.microsoft.com/office/drawing/2014/main" id="{9027F586-E512-0321-8741-0974174D783B}"/>
              </a:ext>
            </a:extLst>
          </p:cNvPr>
          <p:cNvGrpSpPr/>
          <p:nvPr/>
        </p:nvGrpSpPr>
        <p:grpSpPr>
          <a:xfrm rot="5400000">
            <a:off x="9200729" y="2178940"/>
            <a:ext cx="421118" cy="4893212"/>
            <a:chOff x="6759911" y="1120846"/>
            <a:chExt cx="421118" cy="2823395"/>
          </a:xfrm>
        </p:grpSpPr>
        <p:sp>
          <p:nvSpPr>
            <p:cNvPr id="435" name="Arrow: Pentagon 434">
              <a:extLst>
                <a:ext uri="{FF2B5EF4-FFF2-40B4-BE49-F238E27FC236}">
                  <a16:creationId xmlns:a16="http://schemas.microsoft.com/office/drawing/2014/main" id="{2FEC3D49-8BC5-4C87-C1D1-151612A6FF94}"/>
                </a:ext>
              </a:extLst>
            </p:cNvPr>
            <p:cNvSpPr/>
            <p:nvPr/>
          </p:nvSpPr>
          <p:spPr>
            <a:xfrm>
              <a:off x="6759911" y="1120846"/>
              <a:ext cx="421118" cy="2823395"/>
            </a:xfrm>
            <a:prstGeom prst="homePlate">
              <a:avLst>
                <a:gd name="adj" fmla="val 34095"/>
              </a:avLst>
            </a:prstGeom>
            <a:solidFill>
              <a:schemeClr val="tx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900">
                <a:solidFill>
                  <a:schemeClr val="tx1"/>
                </a:solidFill>
                <a:latin typeface="EYInterstate Light" panose="02000506000000020004" pitchFamily="2" charset="0"/>
              </a:endParaRPr>
            </a:p>
          </p:txBody>
        </p:sp>
        <p:sp>
          <p:nvSpPr>
            <p:cNvPr id="436" name="Rectangle 435">
              <a:extLst>
                <a:ext uri="{FF2B5EF4-FFF2-40B4-BE49-F238E27FC236}">
                  <a16:creationId xmlns:a16="http://schemas.microsoft.com/office/drawing/2014/main" id="{6AE70777-0C01-AA93-DADC-D0D61363F59A}"/>
                </a:ext>
              </a:extLst>
            </p:cNvPr>
            <p:cNvSpPr/>
            <p:nvPr/>
          </p:nvSpPr>
          <p:spPr>
            <a:xfrm>
              <a:off x="6793153" y="1140009"/>
              <a:ext cx="184666" cy="274694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200" dirty="0">
                  <a:solidFill>
                    <a:schemeClr val="tx1"/>
                  </a:solidFill>
                  <a:latin typeface="+mj-lt"/>
                </a:rPr>
                <a:t>Estimated cost using published NSW CTP Schedule 1E</a:t>
              </a:r>
            </a:p>
          </p:txBody>
        </p:sp>
      </p:grpSp>
    </p:spTree>
    <p:extLst>
      <p:ext uri="{BB962C8B-B14F-4D97-AF65-F5344CB8AC3E}">
        <p14:creationId xmlns:p14="http://schemas.microsoft.com/office/powerpoint/2010/main" val="2216504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419B15-D3A1-D148-B17D-3384984D61F4}"/>
            </a:ext>
          </a:extLst>
        </p:cNvPr>
        <p:cNvGrpSpPr/>
        <p:nvPr/>
      </p:nvGrpSpPr>
      <p:grpSpPr>
        <a:xfrm>
          <a:off x="0" y="0"/>
          <a:ext cx="0" cy="0"/>
          <a:chOff x="0" y="0"/>
          <a:chExt cx="0" cy="0"/>
        </a:xfrm>
      </p:grpSpPr>
      <p:graphicFrame>
        <p:nvGraphicFramePr>
          <p:cNvPr id="29" name="Chart 28">
            <a:extLst>
              <a:ext uri="{FF2B5EF4-FFF2-40B4-BE49-F238E27FC236}">
                <a16:creationId xmlns:a16="http://schemas.microsoft.com/office/drawing/2014/main" id="{D5BCA00F-C619-F22B-47BF-910607565717}"/>
              </a:ext>
            </a:extLst>
          </p:cNvPr>
          <p:cNvGraphicFramePr>
            <a:graphicFrameLocks/>
          </p:cNvGraphicFramePr>
          <p:nvPr>
            <p:extLst>
              <p:ext uri="{D42A27DB-BD31-4B8C-83A1-F6EECF244321}">
                <p14:modId xmlns:p14="http://schemas.microsoft.com/office/powerpoint/2010/main" val="1241421359"/>
              </p:ext>
            </p:extLst>
          </p:nvPr>
        </p:nvGraphicFramePr>
        <p:xfrm>
          <a:off x="359447" y="1507384"/>
          <a:ext cx="5062582" cy="3965807"/>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7">
            <a:extLst>
              <a:ext uri="{FF2B5EF4-FFF2-40B4-BE49-F238E27FC236}">
                <a16:creationId xmlns:a16="http://schemas.microsoft.com/office/drawing/2014/main" id="{17539D31-751E-C702-3204-80F538F2EBB0}"/>
              </a:ext>
            </a:extLst>
          </p:cNvPr>
          <p:cNvSpPr txBox="1">
            <a:spLocks/>
          </p:cNvSpPr>
          <p:nvPr/>
        </p:nvSpPr>
        <p:spPr>
          <a:xfrm>
            <a:off x="326848" y="288389"/>
            <a:ext cx="6627671" cy="1232435"/>
          </a:xfrm>
          <a:prstGeom prst="rect">
            <a:avLst/>
          </a:prstGeom>
        </p:spPr>
        <p:txBody>
          <a:bodyPr/>
          <a:lstStyle>
            <a:lvl1pPr algn="l" defTabSz="914400" rtl="0" eaLnBrk="1" latinLnBrk="0" hangingPunct="1">
              <a:lnSpc>
                <a:spcPct val="90000"/>
              </a:lnSpc>
              <a:spcBef>
                <a:spcPct val="0"/>
              </a:spcBef>
              <a:buNone/>
              <a:defRPr sz="3100" kern="1200">
                <a:solidFill>
                  <a:schemeClr val="tx1"/>
                </a:solidFill>
                <a:latin typeface="+mj-lt"/>
                <a:ea typeface="+mj-ea"/>
                <a:cs typeface="+mj-cs"/>
              </a:defRPr>
            </a:lvl1pPr>
          </a:lstStyle>
          <a:p>
            <a:r>
              <a:rPr lang="en-US" dirty="0"/>
              <a:t>Direct cost attribution</a:t>
            </a:r>
          </a:p>
        </p:txBody>
      </p:sp>
      <p:sp>
        <p:nvSpPr>
          <p:cNvPr id="163" name="Rectangle 162">
            <a:extLst>
              <a:ext uri="{FF2B5EF4-FFF2-40B4-BE49-F238E27FC236}">
                <a16:creationId xmlns:a16="http://schemas.microsoft.com/office/drawing/2014/main" id="{A1113AEE-F7B0-2400-70D2-B0F5927C7732}"/>
              </a:ext>
            </a:extLst>
          </p:cNvPr>
          <p:cNvSpPr/>
          <p:nvPr/>
        </p:nvSpPr>
        <p:spPr>
          <a:xfrm>
            <a:off x="384231" y="1196499"/>
            <a:ext cx="5400000" cy="262800"/>
          </a:xfrm>
          <a:prstGeom prst="rect">
            <a:avLst/>
          </a:prstGeom>
          <a:solidFill>
            <a:schemeClr val="tx1">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algn="ctr"/>
            <a:r>
              <a:rPr lang="en-AU" sz="1400" b="1" dirty="0">
                <a:solidFill>
                  <a:srgbClr val="FFFFFF"/>
                </a:solidFill>
                <a:latin typeface="+mj-lt"/>
              </a:rPr>
              <a:t>MMD collision types</a:t>
            </a:r>
          </a:p>
        </p:txBody>
      </p:sp>
      <p:cxnSp>
        <p:nvCxnSpPr>
          <p:cNvPr id="183" name="Straight Connector 182">
            <a:extLst>
              <a:ext uri="{FF2B5EF4-FFF2-40B4-BE49-F238E27FC236}">
                <a16:creationId xmlns:a16="http://schemas.microsoft.com/office/drawing/2014/main" id="{0A37C45D-CABE-B62D-2DEC-09BFC80F9437}"/>
              </a:ext>
            </a:extLst>
          </p:cNvPr>
          <p:cNvCxnSpPr/>
          <p:nvPr/>
        </p:nvCxnSpPr>
        <p:spPr>
          <a:xfrm>
            <a:off x="6096000" y="411122"/>
            <a:ext cx="4752000" cy="0"/>
          </a:xfrm>
          <a:prstGeom prst="line">
            <a:avLst/>
          </a:prstGeom>
          <a:ln>
            <a:solidFill>
              <a:schemeClr val="bg2"/>
            </a:solidFill>
            <a:prstDash val="dash"/>
            <a:tailEnd type="none"/>
          </a:ln>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6702FB8E-6D0B-4957-C6BB-61AD1C3A75B7}"/>
              </a:ext>
            </a:extLst>
          </p:cNvPr>
          <p:cNvCxnSpPr>
            <a:cxnSpLocks/>
          </p:cNvCxnSpPr>
          <p:nvPr/>
        </p:nvCxnSpPr>
        <p:spPr>
          <a:xfrm flipV="1">
            <a:off x="6123903" y="806152"/>
            <a:ext cx="4752000" cy="6346"/>
          </a:xfrm>
          <a:prstGeom prst="line">
            <a:avLst/>
          </a:prstGeom>
          <a:ln>
            <a:solidFill>
              <a:schemeClr val="bg2"/>
            </a:solidFill>
            <a:prstDash val="dash"/>
            <a:tailEnd type="none"/>
          </a:ln>
        </p:spPr>
        <p:style>
          <a:lnRef idx="1">
            <a:schemeClr val="dk1"/>
          </a:lnRef>
          <a:fillRef idx="0">
            <a:schemeClr val="dk1"/>
          </a:fillRef>
          <a:effectRef idx="0">
            <a:schemeClr val="dk1"/>
          </a:effectRef>
          <a:fontRef idx="minor">
            <a:schemeClr val="tx1"/>
          </a:fontRef>
        </p:style>
      </p:cxnSp>
      <p:sp>
        <p:nvSpPr>
          <p:cNvPr id="191" name="Rectangle 190">
            <a:extLst>
              <a:ext uri="{FF2B5EF4-FFF2-40B4-BE49-F238E27FC236}">
                <a16:creationId xmlns:a16="http://schemas.microsoft.com/office/drawing/2014/main" id="{DDD08CEF-02DE-2043-E739-ED44EE317054}"/>
              </a:ext>
            </a:extLst>
          </p:cNvPr>
          <p:cNvSpPr/>
          <p:nvPr/>
        </p:nvSpPr>
        <p:spPr>
          <a:xfrm>
            <a:off x="6115646" y="1173176"/>
            <a:ext cx="5400000" cy="2628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dirty="0">
                <a:solidFill>
                  <a:srgbClr val="FFFFFF"/>
                </a:solidFill>
                <a:latin typeface="+mj-lt"/>
              </a:rPr>
              <a:t>NSW CTP cost</a:t>
            </a:r>
          </a:p>
        </p:txBody>
      </p:sp>
      <p:sp>
        <p:nvSpPr>
          <p:cNvPr id="4" name="Arrow: Pentagon 3">
            <a:extLst>
              <a:ext uri="{FF2B5EF4-FFF2-40B4-BE49-F238E27FC236}">
                <a16:creationId xmlns:a16="http://schemas.microsoft.com/office/drawing/2014/main" id="{034861CA-2749-1E23-C759-60E972C25278}"/>
              </a:ext>
            </a:extLst>
          </p:cNvPr>
          <p:cNvSpPr/>
          <p:nvPr/>
        </p:nvSpPr>
        <p:spPr>
          <a:xfrm>
            <a:off x="5977715" y="1676399"/>
            <a:ext cx="421118" cy="4893212"/>
          </a:xfrm>
          <a:prstGeom prst="homePlate">
            <a:avLst>
              <a:gd name="adj" fmla="val 34095"/>
            </a:avLst>
          </a:prstGeom>
          <a:solidFill>
            <a:schemeClr val="tx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900">
              <a:solidFill>
                <a:schemeClr val="tx1"/>
              </a:solidFill>
              <a:latin typeface="EYInterstate Light" panose="02000506000000020004" pitchFamily="2" charset="0"/>
            </a:endParaRPr>
          </a:p>
        </p:txBody>
      </p:sp>
      <p:grpSp>
        <p:nvGrpSpPr>
          <p:cNvPr id="6" name="Group 5">
            <a:extLst>
              <a:ext uri="{FF2B5EF4-FFF2-40B4-BE49-F238E27FC236}">
                <a16:creationId xmlns:a16="http://schemas.microsoft.com/office/drawing/2014/main" id="{8FC9FB00-1751-6877-88E7-25489AFE4EB5}"/>
              </a:ext>
            </a:extLst>
          </p:cNvPr>
          <p:cNvGrpSpPr/>
          <p:nvPr/>
        </p:nvGrpSpPr>
        <p:grpSpPr>
          <a:xfrm>
            <a:off x="6769973" y="2078917"/>
            <a:ext cx="2391049" cy="4189268"/>
            <a:chOff x="6058455" y="1946142"/>
            <a:chExt cx="1744784" cy="4189268"/>
          </a:xfrm>
        </p:grpSpPr>
        <p:sp>
          <p:nvSpPr>
            <p:cNvPr id="7" name="Rectangle 6">
              <a:extLst>
                <a:ext uri="{FF2B5EF4-FFF2-40B4-BE49-F238E27FC236}">
                  <a16:creationId xmlns:a16="http://schemas.microsoft.com/office/drawing/2014/main" id="{6B692BCD-30F6-9CB7-9F38-9C09AE7A56BF}"/>
                </a:ext>
              </a:extLst>
            </p:cNvPr>
            <p:cNvSpPr>
              <a:spLocks/>
            </p:cNvSpPr>
            <p:nvPr/>
          </p:nvSpPr>
          <p:spPr>
            <a:xfrm>
              <a:off x="6323578" y="1946142"/>
              <a:ext cx="1149593" cy="46800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dirty="0">
                  <a:solidFill>
                    <a:srgbClr val="5B5B5B"/>
                  </a:solidFill>
                  <a:latin typeface="+mj-lt"/>
                </a:rPr>
                <a:t>Number of MMD Injuries</a:t>
              </a:r>
            </a:p>
          </p:txBody>
        </p:sp>
        <p:sp>
          <p:nvSpPr>
            <p:cNvPr id="8" name="Rectangle 7">
              <a:extLst>
                <a:ext uri="{FF2B5EF4-FFF2-40B4-BE49-F238E27FC236}">
                  <a16:creationId xmlns:a16="http://schemas.microsoft.com/office/drawing/2014/main" id="{C2DC7C70-F7DC-5D0D-867A-F281E46811B0}"/>
                </a:ext>
              </a:extLst>
            </p:cNvPr>
            <p:cNvSpPr>
              <a:spLocks/>
            </p:cNvSpPr>
            <p:nvPr/>
          </p:nvSpPr>
          <p:spPr>
            <a:xfrm>
              <a:off x="6058455" y="3761793"/>
              <a:ext cx="1744784" cy="468000"/>
            </a:xfrm>
            <a:prstGeom prst="rect">
              <a:avLst/>
            </a:prstGeom>
            <a:gradFill>
              <a:gsLst>
                <a:gs pos="0">
                  <a:schemeClr val="accent2">
                    <a:lumMod val="25000"/>
                    <a:lumOff val="7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dirty="0">
                  <a:solidFill>
                    <a:srgbClr val="5B5B5B"/>
                  </a:solidFill>
                  <a:latin typeface="+mj-lt"/>
                </a:rPr>
                <a:t>Propensity to claim</a:t>
              </a:r>
            </a:p>
            <a:p>
              <a:pPr algn="ctr"/>
              <a:r>
                <a:rPr lang="en-AU" sz="1400" dirty="0">
                  <a:solidFill>
                    <a:srgbClr val="5B5B5B"/>
                  </a:solidFill>
                  <a:latin typeface="+mj-lt"/>
                </a:rPr>
                <a:t>(likelihood to claim benefits)</a:t>
              </a:r>
            </a:p>
          </p:txBody>
        </p:sp>
        <p:sp>
          <p:nvSpPr>
            <p:cNvPr id="9" name="Rectangle 8">
              <a:extLst>
                <a:ext uri="{FF2B5EF4-FFF2-40B4-BE49-F238E27FC236}">
                  <a16:creationId xmlns:a16="http://schemas.microsoft.com/office/drawing/2014/main" id="{EF09BA5D-1983-12F9-2C42-6DFA7855BFE7}"/>
                </a:ext>
              </a:extLst>
            </p:cNvPr>
            <p:cNvSpPr/>
            <p:nvPr/>
          </p:nvSpPr>
          <p:spPr>
            <a:xfrm>
              <a:off x="6146046" y="5667410"/>
              <a:ext cx="1569600" cy="468000"/>
            </a:xfrm>
            <a:prstGeom prst="rect">
              <a:avLst/>
            </a:prstGeom>
            <a:solidFill>
              <a:schemeClr val="accent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dirty="0">
                  <a:solidFill>
                    <a:srgbClr val="5B5B5B"/>
                  </a:solidFill>
                  <a:latin typeface="+mj-lt"/>
                </a:rPr>
                <a:t>Average claims size</a:t>
              </a:r>
            </a:p>
          </p:txBody>
        </p:sp>
      </p:grpSp>
      <p:pic>
        <p:nvPicPr>
          <p:cNvPr id="10" name="Graphic 9" descr="Add with solid fill">
            <a:extLst>
              <a:ext uri="{FF2B5EF4-FFF2-40B4-BE49-F238E27FC236}">
                <a16:creationId xmlns:a16="http://schemas.microsoft.com/office/drawing/2014/main" id="{8CDD06C0-3D1F-2544-7F0A-B67A66C1DD5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683666">
            <a:off x="7813114" y="2747430"/>
            <a:ext cx="215767" cy="217331"/>
          </a:xfrm>
          <a:prstGeom prst="rect">
            <a:avLst/>
          </a:prstGeom>
        </p:spPr>
      </p:pic>
      <p:pic>
        <p:nvPicPr>
          <p:cNvPr id="11" name="Graphic 10" descr="Add with solid fill">
            <a:extLst>
              <a:ext uri="{FF2B5EF4-FFF2-40B4-BE49-F238E27FC236}">
                <a16:creationId xmlns:a16="http://schemas.microsoft.com/office/drawing/2014/main" id="{884D6342-5227-6B4E-AAB1-CAFBFD62F92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683666">
            <a:off x="7863903" y="4638080"/>
            <a:ext cx="215767" cy="217331"/>
          </a:xfrm>
          <a:prstGeom prst="rect">
            <a:avLst/>
          </a:prstGeom>
        </p:spPr>
      </p:pic>
      <p:sp>
        <p:nvSpPr>
          <p:cNvPr id="12" name="Oval 11">
            <a:extLst>
              <a:ext uri="{FF2B5EF4-FFF2-40B4-BE49-F238E27FC236}">
                <a16:creationId xmlns:a16="http://schemas.microsoft.com/office/drawing/2014/main" id="{59C95A06-4096-87A0-E65C-C4759DD0D614}"/>
              </a:ext>
            </a:extLst>
          </p:cNvPr>
          <p:cNvSpPr/>
          <p:nvPr/>
        </p:nvSpPr>
        <p:spPr>
          <a:xfrm>
            <a:off x="7736638" y="1546789"/>
            <a:ext cx="432000" cy="432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1</a:t>
            </a:r>
          </a:p>
        </p:txBody>
      </p:sp>
      <p:sp>
        <p:nvSpPr>
          <p:cNvPr id="13" name="Oval 12">
            <a:extLst>
              <a:ext uri="{FF2B5EF4-FFF2-40B4-BE49-F238E27FC236}">
                <a16:creationId xmlns:a16="http://schemas.microsoft.com/office/drawing/2014/main" id="{A8CD666D-4F1B-2A5B-07F0-F0AA80D472F6}"/>
              </a:ext>
            </a:extLst>
          </p:cNvPr>
          <p:cNvSpPr/>
          <p:nvPr/>
        </p:nvSpPr>
        <p:spPr>
          <a:xfrm>
            <a:off x="7749499" y="3235894"/>
            <a:ext cx="432000" cy="432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2</a:t>
            </a:r>
          </a:p>
        </p:txBody>
      </p:sp>
      <p:sp>
        <p:nvSpPr>
          <p:cNvPr id="14" name="Oval 13">
            <a:extLst>
              <a:ext uri="{FF2B5EF4-FFF2-40B4-BE49-F238E27FC236}">
                <a16:creationId xmlns:a16="http://schemas.microsoft.com/office/drawing/2014/main" id="{67A66CB9-FB82-377E-F284-3B0DCD4C2458}"/>
              </a:ext>
            </a:extLst>
          </p:cNvPr>
          <p:cNvSpPr/>
          <p:nvPr/>
        </p:nvSpPr>
        <p:spPr>
          <a:xfrm>
            <a:off x="7778592" y="5130923"/>
            <a:ext cx="432000" cy="432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3</a:t>
            </a:r>
          </a:p>
        </p:txBody>
      </p:sp>
      <p:sp>
        <p:nvSpPr>
          <p:cNvPr id="15" name="Right Brace 14">
            <a:extLst>
              <a:ext uri="{FF2B5EF4-FFF2-40B4-BE49-F238E27FC236}">
                <a16:creationId xmlns:a16="http://schemas.microsoft.com/office/drawing/2014/main" id="{D705912C-590F-101F-345A-FC5489E9ABF8}"/>
              </a:ext>
            </a:extLst>
          </p:cNvPr>
          <p:cNvSpPr/>
          <p:nvPr/>
        </p:nvSpPr>
        <p:spPr>
          <a:xfrm>
            <a:off x="9519304" y="1729267"/>
            <a:ext cx="306239" cy="472139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16" name="Oval 15">
            <a:extLst>
              <a:ext uri="{FF2B5EF4-FFF2-40B4-BE49-F238E27FC236}">
                <a16:creationId xmlns:a16="http://schemas.microsoft.com/office/drawing/2014/main" id="{0F52DE12-527F-F9B0-8FF0-208B83634ADE}"/>
              </a:ext>
            </a:extLst>
          </p:cNvPr>
          <p:cNvSpPr/>
          <p:nvPr/>
        </p:nvSpPr>
        <p:spPr>
          <a:xfrm>
            <a:off x="10649830" y="3235894"/>
            <a:ext cx="432000" cy="432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4</a:t>
            </a:r>
          </a:p>
        </p:txBody>
      </p:sp>
      <p:sp>
        <p:nvSpPr>
          <p:cNvPr id="17" name="Rectangle 16">
            <a:extLst>
              <a:ext uri="{FF2B5EF4-FFF2-40B4-BE49-F238E27FC236}">
                <a16:creationId xmlns:a16="http://schemas.microsoft.com/office/drawing/2014/main" id="{5D8799E2-4A9F-F88D-3FE2-F0243586E62C}"/>
              </a:ext>
            </a:extLst>
          </p:cNvPr>
          <p:cNvSpPr/>
          <p:nvPr/>
        </p:nvSpPr>
        <p:spPr>
          <a:xfrm>
            <a:off x="10062165" y="3869257"/>
            <a:ext cx="1627476" cy="809656"/>
          </a:xfrm>
          <a:prstGeom prst="rect">
            <a:avLst/>
          </a:prstGeom>
          <a:solidFill>
            <a:schemeClr val="accent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dirty="0">
                <a:solidFill>
                  <a:srgbClr val="5B5B5B"/>
                </a:solidFill>
                <a:latin typeface="+mj-lt"/>
              </a:rPr>
              <a:t>Proportion of collision with CTP registered vehicles</a:t>
            </a:r>
          </a:p>
        </p:txBody>
      </p:sp>
    </p:spTree>
    <p:extLst>
      <p:ext uri="{BB962C8B-B14F-4D97-AF65-F5344CB8AC3E}">
        <p14:creationId xmlns:p14="http://schemas.microsoft.com/office/powerpoint/2010/main" val="24913752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1FDE4-960E-023C-7D1C-F4B7CECA5414}"/>
            </a:ext>
          </a:extLst>
        </p:cNvPr>
        <p:cNvGrpSpPr/>
        <p:nvPr/>
      </p:nvGrpSpPr>
      <p:grpSpPr>
        <a:xfrm>
          <a:off x="0" y="0"/>
          <a:ext cx="0" cy="0"/>
          <a:chOff x="0" y="0"/>
          <a:chExt cx="0" cy="0"/>
        </a:xfrm>
      </p:grpSpPr>
      <p:sp>
        <p:nvSpPr>
          <p:cNvPr id="13" name="TextBox 12">
            <a:extLst>
              <a:ext uri="{FF2B5EF4-FFF2-40B4-BE49-F238E27FC236}">
                <a16:creationId xmlns:a16="http://schemas.microsoft.com/office/drawing/2014/main" id="{EC9C0F7D-7C39-7683-3EEE-F99A66A872F1}"/>
              </a:ext>
            </a:extLst>
          </p:cNvPr>
          <p:cNvSpPr txBox="1">
            <a:spLocks/>
          </p:cNvSpPr>
          <p:nvPr/>
        </p:nvSpPr>
        <p:spPr>
          <a:xfrm>
            <a:off x="514165" y="901602"/>
            <a:ext cx="9262725" cy="3239861"/>
          </a:xfrm>
          <a:prstGeom prst="rect">
            <a:avLst/>
          </a:prstGeom>
          <a:noFill/>
        </p:spPr>
        <p:txBody>
          <a:bodyPr wrap="square" lIns="0" tIns="36576" rIns="0" bIns="0" rtlCol="0">
            <a:spAutoFit/>
          </a:bodyPr>
          <a:lstStyle/>
          <a:p>
            <a:pPr marL="360000" indent="-360000">
              <a:lnSpc>
                <a:spcPct val="85000"/>
              </a:lnSpc>
              <a:spcBef>
                <a:spcPts val="600"/>
              </a:spcBef>
              <a:spcAft>
                <a:spcPts val="600"/>
              </a:spcAft>
              <a:buClr>
                <a:schemeClr val="tx2">
                  <a:lumMod val="50000"/>
                </a:schemeClr>
              </a:buClr>
              <a:buSzPct val="70000"/>
              <a:buFont typeface="Arial" panose="020B0604020202020204" pitchFamily="34" charset="0"/>
              <a:buChar char="►"/>
            </a:pPr>
            <a:r>
              <a:rPr lang="en-AU" dirty="0">
                <a:solidFill>
                  <a:srgbClr val="5B5B5B"/>
                </a:solidFill>
              </a:rPr>
              <a:t>SIRA plans to closely monitor the financial impact to the scheme </a:t>
            </a:r>
          </a:p>
          <a:p>
            <a:pPr marL="817200" lvl="1" indent="-360000">
              <a:lnSpc>
                <a:spcPct val="85000"/>
              </a:lnSpc>
              <a:spcBef>
                <a:spcPts val="600"/>
              </a:spcBef>
              <a:spcAft>
                <a:spcPts val="600"/>
              </a:spcAft>
              <a:buClr>
                <a:schemeClr val="tx2">
                  <a:lumMod val="50000"/>
                </a:schemeClr>
              </a:buClr>
              <a:buSzPct val="70000"/>
              <a:buFont typeface="Arial" panose="020B0604020202020204" pitchFamily="34" charset="0"/>
              <a:buChar char="►"/>
            </a:pPr>
            <a:r>
              <a:rPr lang="en-AU" dirty="0">
                <a:solidFill>
                  <a:srgbClr val="5B5B5B"/>
                </a:solidFill>
              </a:rPr>
              <a:t>Behavioural: As greater uptake of MMD, will we start to see a shift in the transport mode? Impact on public transport? Offset vehicle volume? </a:t>
            </a:r>
          </a:p>
          <a:p>
            <a:pPr marL="817200" lvl="1" indent="-360000">
              <a:lnSpc>
                <a:spcPct val="85000"/>
              </a:lnSpc>
              <a:spcBef>
                <a:spcPts val="600"/>
              </a:spcBef>
              <a:spcAft>
                <a:spcPts val="600"/>
              </a:spcAft>
              <a:buClr>
                <a:schemeClr val="tx2">
                  <a:lumMod val="50000"/>
                </a:schemeClr>
              </a:buClr>
              <a:buSzPct val="70000"/>
              <a:buFont typeface="Arial" panose="020B0604020202020204" pitchFamily="34" charset="0"/>
              <a:buChar char="►"/>
            </a:pPr>
            <a:r>
              <a:rPr lang="en-AU" dirty="0">
                <a:solidFill>
                  <a:srgbClr val="5B5B5B"/>
                </a:solidFill>
              </a:rPr>
              <a:t>Continuous monitoring of other potential disruptors that might threaten sustainability of the scheme</a:t>
            </a:r>
          </a:p>
          <a:p>
            <a:pPr marL="360000" indent="-360000" algn="l">
              <a:lnSpc>
                <a:spcPct val="85000"/>
              </a:lnSpc>
              <a:spcBef>
                <a:spcPts val="600"/>
              </a:spcBef>
              <a:spcAft>
                <a:spcPts val="600"/>
              </a:spcAft>
              <a:buClr>
                <a:schemeClr val="tx2">
                  <a:lumMod val="50000"/>
                </a:schemeClr>
              </a:buClr>
              <a:buSzPct val="70000"/>
              <a:buFont typeface="Arial" panose="020B0604020202020204" pitchFamily="34" charset="0"/>
              <a:buChar char="►"/>
            </a:pPr>
            <a:r>
              <a:rPr lang="en-AU" dirty="0">
                <a:solidFill>
                  <a:srgbClr val="5B5B5B"/>
                </a:solidFill>
                <a:latin typeface="+mj-lt"/>
              </a:rPr>
              <a:t>Legalisation of e-scooters will be a government decision</a:t>
            </a:r>
          </a:p>
          <a:p>
            <a:pPr marL="360000" indent="-360000" algn="l">
              <a:lnSpc>
                <a:spcPct val="85000"/>
              </a:lnSpc>
              <a:spcBef>
                <a:spcPts val="600"/>
              </a:spcBef>
              <a:spcAft>
                <a:spcPts val="600"/>
              </a:spcAft>
              <a:buClr>
                <a:schemeClr val="tx2">
                  <a:lumMod val="50000"/>
                </a:schemeClr>
              </a:buClr>
              <a:buSzPct val="70000"/>
              <a:buFont typeface="Arial" panose="020B0604020202020204" pitchFamily="34" charset="0"/>
              <a:buChar char="►"/>
            </a:pPr>
            <a:r>
              <a:rPr lang="en-AU" dirty="0">
                <a:solidFill>
                  <a:srgbClr val="5B5B5B"/>
                </a:solidFill>
                <a:latin typeface="+mj-lt"/>
              </a:rPr>
              <a:t>Options and viability of insurance cover for collision with other non-registered vehicles is currently being considered by NSW Treasury</a:t>
            </a:r>
            <a:endParaRPr lang="en-AU" dirty="0">
              <a:solidFill>
                <a:srgbClr val="5B5B5B"/>
              </a:solidFill>
            </a:endParaRPr>
          </a:p>
          <a:p>
            <a:pPr marL="360000" indent="-360000" algn="l">
              <a:lnSpc>
                <a:spcPct val="85000"/>
              </a:lnSpc>
              <a:spcBef>
                <a:spcPts val="600"/>
              </a:spcBef>
              <a:spcAft>
                <a:spcPts val="600"/>
              </a:spcAft>
              <a:buClr>
                <a:schemeClr val="tx2">
                  <a:lumMod val="50000"/>
                </a:schemeClr>
              </a:buClr>
              <a:buSzPct val="70000"/>
              <a:buFont typeface="Arial" panose="020B0604020202020204" pitchFamily="34" charset="0"/>
              <a:buChar char="►"/>
            </a:pPr>
            <a:endParaRPr lang="en-AU" dirty="0">
              <a:solidFill>
                <a:srgbClr val="5B5B5B"/>
              </a:solidFill>
              <a:latin typeface="+mj-lt"/>
            </a:endParaRPr>
          </a:p>
          <a:p>
            <a:pPr marL="360000" indent="-360000" algn="l">
              <a:lnSpc>
                <a:spcPct val="85000"/>
              </a:lnSpc>
              <a:spcAft>
                <a:spcPts val="600"/>
              </a:spcAft>
              <a:buClr>
                <a:schemeClr val="accent2"/>
              </a:buClr>
              <a:buSzPct val="70000"/>
            </a:pPr>
            <a:endParaRPr lang="en-AU" dirty="0">
              <a:solidFill>
                <a:srgbClr val="5B5B5B"/>
              </a:solidFill>
              <a:latin typeface="+mj-lt"/>
            </a:endParaRPr>
          </a:p>
        </p:txBody>
      </p:sp>
      <p:sp>
        <p:nvSpPr>
          <p:cNvPr id="3" name="Title 7">
            <a:extLst>
              <a:ext uri="{FF2B5EF4-FFF2-40B4-BE49-F238E27FC236}">
                <a16:creationId xmlns:a16="http://schemas.microsoft.com/office/drawing/2014/main" id="{C3001AA7-B236-428D-FD26-CF9CB1E90A5C}"/>
              </a:ext>
            </a:extLst>
          </p:cNvPr>
          <p:cNvSpPr txBox="1">
            <a:spLocks/>
          </p:cNvSpPr>
          <p:nvPr/>
        </p:nvSpPr>
        <p:spPr>
          <a:xfrm>
            <a:off x="326848" y="288389"/>
            <a:ext cx="11611152" cy="1232435"/>
          </a:xfrm>
          <a:prstGeom prst="rect">
            <a:avLst/>
          </a:prstGeom>
        </p:spPr>
        <p:txBody>
          <a:bodyPr/>
          <a:lstStyle>
            <a:lvl1pPr algn="l" defTabSz="914400" rtl="0" eaLnBrk="1" latinLnBrk="0" hangingPunct="1">
              <a:lnSpc>
                <a:spcPct val="90000"/>
              </a:lnSpc>
              <a:spcBef>
                <a:spcPct val="0"/>
              </a:spcBef>
              <a:buNone/>
              <a:defRPr sz="3100" kern="1200">
                <a:solidFill>
                  <a:schemeClr val="tx1"/>
                </a:solidFill>
                <a:latin typeface="+mj-lt"/>
                <a:ea typeface="+mj-ea"/>
                <a:cs typeface="+mj-cs"/>
              </a:defRPr>
            </a:lvl1pPr>
          </a:lstStyle>
          <a:p>
            <a:r>
              <a:rPr lang="en-US" dirty="0"/>
              <a:t>Our conclusion</a:t>
            </a:r>
          </a:p>
        </p:txBody>
      </p:sp>
      <p:sp>
        <p:nvSpPr>
          <p:cNvPr id="2" name="Title 4">
            <a:extLst>
              <a:ext uri="{FF2B5EF4-FFF2-40B4-BE49-F238E27FC236}">
                <a16:creationId xmlns:a16="http://schemas.microsoft.com/office/drawing/2014/main" id="{791A5A24-7B1D-9F36-2A96-2F3D6F649D65}"/>
              </a:ext>
            </a:extLst>
          </p:cNvPr>
          <p:cNvSpPr txBox="1">
            <a:spLocks/>
          </p:cNvSpPr>
          <p:nvPr/>
        </p:nvSpPr>
        <p:spPr>
          <a:xfrm>
            <a:off x="514165" y="-353810"/>
            <a:ext cx="4223231" cy="221311"/>
          </a:xfrm>
          <a:prstGeom prst="rect">
            <a:avLst/>
          </a:prstGeom>
        </p:spPr>
        <p:txBody>
          <a:bodyPr spcFirstLastPara="1" wrap="square" lIns="0" tIns="0" rIns="0" bIns="0" anchor="t" anchorCtr="0">
            <a:noAutofit/>
          </a:bodyPr>
          <a:lstStyle>
            <a:defPPr>
              <a:defRPr lang="en-US"/>
            </a:defPPr>
            <a:lvl1pPr defTabSz="945888">
              <a:lnSpc>
                <a:spcPct val="95000"/>
              </a:lnSpc>
              <a:spcBef>
                <a:spcPct val="0"/>
              </a:spcBef>
              <a:buNone/>
              <a:defRPr b="0">
                <a:solidFill>
                  <a:srgbClr val="000000"/>
                </a:solidFill>
                <a:latin typeface="Arial" panose="020B0604020202020204"/>
                <a:ea typeface="+mj-ea"/>
                <a:cs typeface="+mj-cs"/>
              </a:defRPr>
            </a:lvl1pPr>
          </a:lstStyle>
          <a:p>
            <a:pPr marL="0" marR="0" lvl="0" indent="0" algn="l" defTabSz="1071743" rtl="0" eaLnBrk="1" fontAlgn="auto" latinLnBrk="0" hangingPunct="1">
              <a:lnSpc>
                <a:spcPct val="100000"/>
              </a:lnSpc>
              <a:spcBef>
                <a:spcPts val="105"/>
              </a:spcBef>
              <a:spcAft>
                <a:spcPts val="600"/>
              </a:spcAft>
              <a:buClr>
                <a:srgbClr val="FFD200"/>
              </a:buClr>
              <a:buSzPct val="75000"/>
              <a:buFontTx/>
              <a:buNone/>
              <a:tabLst/>
              <a:defRPr/>
            </a:pPr>
            <a:r>
              <a:rPr kumimoji="0" lang="en-AU" sz="1800" b="0" i="0" u="none" strike="noStrike" kern="0" cap="none" spc="0" normalizeH="0" baseline="0" noProof="0">
                <a:ln>
                  <a:noFill/>
                </a:ln>
                <a:solidFill>
                  <a:srgbClr val="000000"/>
                </a:solidFill>
                <a:effectLst/>
                <a:uLnTx/>
                <a:uFillTx/>
                <a:latin typeface="EYInterstate" panose="02000503020000020004" pitchFamily="2" charset="0"/>
                <a:ea typeface="+mj-ea"/>
                <a:cs typeface="+mj-cs"/>
                <a:sym typeface="Arial Unicode MS" pitchFamily="34" charset="-128"/>
              </a:rPr>
              <a:t>Future outlook and usage of MMDs</a:t>
            </a:r>
            <a:endParaRPr kumimoji="0" lang="en-AU" sz="1800" b="1" i="0" u="none" strike="noStrike" kern="1200" cap="none" spc="0" normalizeH="0" baseline="0" noProof="0">
              <a:ln>
                <a:noFill/>
              </a:ln>
              <a:solidFill>
                <a:srgbClr val="000000"/>
              </a:solidFill>
              <a:effectLst/>
              <a:uLnTx/>
              <a:uFillTx/>
              <a:latin typeface="EYInterstate" panose="02000503020000020004" pitchFamily="2" charset="0"/>
              <a:ea typeface="+mj-ea"/>
              <a:cs typeface="+mj-cs"/>
            </a:endParaRPr>
          </a:p>
        </p:txBody>
      </p:sp>
      <p:sp>
        <p:nvSpPr>
          <p:cNvPr id="12" name="Title 7">
            <a:extLst>
              <a:ext uri="{FF2B5EF4-FFF2-40B4-BE49-F238E27FC236}">
                <a16:creationId xmlns:a16="http://schemas.microsoft.com/office/drawing/2014/main" id="{D4D695AA-CCA1-C36F-74C5-27476D7997F1}"/>
              </a:ext>
            </a:extLst>
          </p:cNvPr>
          <p:cNvSpPr txBox="1">
            <a:spLocks/>
          </p:cNvSpPr>
          <p:nvPr/>
        </p:nvSpPr>
        <p:spPr>
          <a:xfrm>
            <a:off x="400546" y="2961022"/>
            <a:ext cx="11611152" cy="1232435"/>
          </a:xfrm>
          <a:prstGeom prst="rect">
            <a:avLst/>
          </a:prstGeom>
        </p:spPr>
        <p:txBody>
          <a:bodyPr/>
          <a:lstStyle>
            <a:lvl1pPr algn="l" defTabSz="914400" rtl="0" eaLnBrk="1" latinLnBrk="0" hangingPunct="1">
              <a:lnSpc>
                <a:spcPct val="90000"/>
              </a:lnSpc>
              <a:spcBef>
                <a:spcPct val="0"/>
              </a:spcBef>
              <a:buNone/>
              <a:defRPr sz="3100" kern="1200">
                <a:solidFill>
                  <a:schemeClr val="tx1"/>
                </a:solidFill>
                <a:latin typeface="+mj-lt"/>
                <a:ea typeface="+mj-ea"/>
                <a:cs typeface="+mj-cs"/>
              </a:defRPr>
            </a:lvl1pPr>
          </a:lstStyle>
          <a:p>
            <a:endParaRPr lang="en-US" dirty="0"/>
          </a:p>
        </p:txBody>
      </p:sp>
    </p:spTree>
    <p:extLst>
      <p:ext uri="{BB962C8B-B14F-4D97-AF65-F5344CB8AC3E}">
        <p14:creationId xmlns:p14="http://schemas.microsoft.com/office/powerpoint/2010/main" val="2678714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77913F92-205A-93EB-5F67-24821B64203A}"/>
              </a:ext>
            </a:extLst>
          </p:cNvPr>
          <p:cNvSpPr>
            <a:spLocks noGrp="1"/>
          </p:cNvSpPr>
          <p:nvPr>
            <p:ph type="title"/>
          </p:nvPr>
        </p:nvSpPr>
        <p:spPr/>
        <p:txBody>
          <a:bodyPr/>
          <a:lstStyle/>
          <a:p>
            <a:r>
              <a:rPr lang="en-AU" dirty="0"/>
              <a:t>The evolution of </a:t>
            </a:r>
            <a:r>
              <a:rPr lang="en-AU" dirty="0" err="1"/>
              <a:t>e-micromobility</a:t>
            </a:r>
            <a:endParaRPr lang="en-AU" dirty="0"/>
          </a:p>
        </p:txBody>
      </p:sp>
      <p:sp>
        <p:nvSpPr>
          <p:cNvPr id="4" name="Slide Number Placeholder 3">
            <a:extLst>
              <a:ext uri="{FF2B5EF4-FFF2-40B4-BE49-F238E27FC236}">
                <a16:creationId xmlns:a16="http://schemas.microsoft.com/office/drawing/2014/main" id="{1704869A-496E-DD80-C02E-9B41F1F13194}"/>
              </a:ext>
            </a:extLst>
          </p:cNvPr>
          <p:cNvSpPr>
            <a:spLocks noGrp="1"/>
          </p:cNvSpPr>
          <p:nvPr>
            <p:ph type="sldNum" sz="quarter" idx="12"/>
          </p:nvPr>
        </p:nvSpPr>
        <p:spPr/>
        <p:txBody>
          <a:bodyPr anchor="b">
            <a:normAutofit/>
          </a:bodyPr>
          <a:lstStyle/>
          <a:p>
            <a:pPr>
              <a:spcAft>
                <a:spcPts val="600"/>
              </a:spcAft>
            </a:pPr>
            <a:fld id="{741AFF56-1126-4107-9C02-BC0EFBF16431}" type="slidenum">
              <a:rPr lang="en-GB" smtClean="0"/>
              <a:pPr>
                <a:spcAft>
                  <a:spcPts val="600"/>
                </a:spcAft>
              </a:pPr>
              <a:t>2</a:t>
            </a:fld>
            <a:endParaRPr lang="en-GB"/>
          </a:p>
        </p:txBody>
      </p:sp>
      <p:pic>
        <p:nvPicPr>
          <p:cNvPr id="16" name="Picture 15">
            <a:extLst>
              <a:ext uri="{FF2B5EF4-FFF2-40B4-BE49-F238E27FC236}">
                <a16:creationId xmlns:a16="http://schemas.microsoft.com/office/drawing/2014/main" id="{F000ADD7-B551-ECAE-F889-2BC441979766}"/>
              </a:ext>
            </a:extLst>
          </p:cNvPr>
          <p:cNvPicPr>
            <a:picLocks noChangeAspect="1"/>
          </p:cNvPicPr>
          <p:nvPr/>
        </p:nvPicPr>
        <p:blipFill>
          <a:blip r:embed="rId3"/>
          <a:stretch>
            <a:fillRect/>
          </a:stretch>
        </p:blipFill>
        <p:spPr>
          <a:xfrm>
            <a:off x="1219200" y="1666875"/>
            <a:ext cx="9753600" cy="3524250"/>
          </a:xfrm>
          <a:prstGeom prst="rect">
            <a:avLst/>
          </a:prstGeom>
        </p:spPr>
      </p:pic>
    </p:spTree>
    <p:extLst>
      <p:ext uri="{BB962C8B-B14F-4D97-AF65-F5344CB8AC3E}">
        <p14:creationId xmlns:p14="http://schemas.microsoft.com/office/powerpoint/2010/main" val="20586168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AA8D960-E008-DAF0-3F6F-B6240E13616F}"/>
              </a:ext>
            </a:extLst>
          </p:cNvPr>
          <p:cNvSpPr>
            <a:spLocks noGrp="1"/>
          </p:cNvSpPr>
          <p:nvPr>
            <p:ph type="title"/>
          </p:nvPr>
        </p:nvSpPr>
        <p:spPr/>
        <p:txBody>
          <a:bodyPr/>
          <a:lstStyle/>
          <a:p>
            <a:r>
              <a:rPr lang="en-US"/>
              <a:t>Global snapshot</a:t>
            </a:r>
            <a:endParaRPr lang="en-US" dirty="0"/>
          </a:p>
        </p:txBody>
      </p:sp>
      <p:sp>
        <p:nvSpPr>
          <p:cNvPr id="23" name="Content Placeholder 22">
            <a:extLst>
              <a:ext uri="{FF2B5EF4-FFF2-40B4-BE49-F238E27FC236}">
                <a16:creationId xmlns:a16="http://schemas.microsoft.com/office/drawing/2014/main" id="{44BD64A2-84E9-7DE4-D55B-7CCC1158D7C2}"/>
              </a:ext>
            </a:extLst>
          </p:cNvPr>
          <p:cNvSpPr>
            <a:spLocks noGrp="1"/>
          </p:cNvSpPr>
          <p:nvPr>
            <p:ph idx="1"/>
          </p:nvPr>
        </p:nvSpPr>
        <p:spPr>
          <a:xfrm>
            <a:off x="326849" y="2213267"/>
            <a:ext cx="4300995" cy="3161307"/>
          </a:xfrm>
        </p:spPr>
        <p:txBody>
          <a:bodyPr/>
          <a:lstStyle/>
          <a:p>
            <a:r>
              <a:rPr lang="en-AU" sz="2000" b="1"/>
              <a:t>E-bikes</a:t>
            </a:r>
          </a:p>
          <a:p>
            <a:pPr marL="285750" indent="-285750">
              <a:buFont typeface="Arial" panose="020B0604020202020204" pitchFamily="34" charset="0"/>
              <a:buChar char="•"/>
            </a:pPr>
            <a:r>
              <a:rPr lang="en-AU" sz="1600"/>
              <a:t>Consistent </a:t>
            </a:r>
            <a:r>
              <a:rPr lang="en-AU" sz="1600" dirty="0"/>
              <a:t>approach </a:t>
            </a:r>
            <a:r>
              <a:rPr lang="en-AU" sz="1600"/>
              <a:t>internationally</a:t>
            </a:r>
          </a:p>
          <a:p>
            <a:pPr marL="285750" indent="-285750">
              <a:buFont typeface="Arial" panose="020B0604020202020204" pitchFamily="34" charset="0"/>
              <a:buChar char="•"/>
            </a:pPr>
            <a:r>
              <a:rPr lang="en-AU" sz="1600"/>
              <a:t>Generally, e-bikes </a:t>
            </a:r>
            <a:r>
              <a:rPr lang="en-AU" sz="1600" dirty="0"/>
              <a:t>meeting EPAC or </a:t>
            </a:r>
            <a:r>
              <a:rPr lang="en-AU" sz="1600" dirty="0" err="1"/>
              <a:t>pedelec</a:t>
            </a:r>
            <a:r>
              <a:rPr lang="en-AU" sz="1600" dirty="0"/>
              <a:t> definition</a:t>
            </a:r>
            <a:r>
              <a:rPr lang="en-AU" sz="1600"/>
              <a:t> do not require registration, licensing or insurance</a:t>
            </a:r>
          </a:p>
          <a:p>
            <a:pPr marL="285750" indent="-285750">
              <a:buFont typeface="Arial" panose="020B0604020202020204" pitchFamily="34" charset="0"/>
              <a:buChar char="•"/>
            </a:pPr>
            <a:r>
              <a:rPr lang="en-AU" sz="1600"/>
              <a:t>Higher speed e-bikes, and those that can be fully electric, generally require registration, licensing and insurance</a:t>
            </a:r>
          </a:p>
          <a:p>
            <a:endParaRPr lang="en-AU" sz="1600"/>
          </a:p>
        </p:txBody>
      </p:sp>
      <p:sp>
        <p:nvSpPr>
          <p:cNvPr id="4" name="Slide Number Placeholder 3">
            <a:extLst>
              <a:ext uri="{FF2B5EF4-FFF2-40B4-BE49-F238E27FC236}">
                <a16:creationId xmlns:a16="http://schemas.microsoft.com/office/drawing/2014/main" id="{CF5D95C8-4C1E-4DF1-D8CF-B67783A40AE7}"/>
              </a:ext>
            </a:extLst>
          </p:cNvPr>
          <p:cNvSpPr>
            <a:spLocks noGrp="1"/>
          </p:cNvSpPr>
          <p:nvPr>
            <p:ph type="sldNum" sz="quarter" idx="12"/>
          </p:nvPr>
        </p:nvSpPr>
        <p:spPr/>
        <p:txBody>
          <a:bodyPr/>
          <a:lstStyle/>
          <a:p>
            <a:fld id="{741AFF56-1126-4107-9C02-BC0EFBF16431}" type="slidenum">
              <a:rPr lang="en-GB" smtClean="0"/>
              <a:pPr/>
              <a:t>3</a:t>
            </a:fld>
            <a:endParaRPr lang="en-GB" dirty="0"/>
          </a:p>
        </p:txBody>
      </p:sp>
      <p:sp>
        <p:nvSpPr>
          <p:cNvPr id="25" name="Content Placeholder 24">
            <a:extLst>
              <a:ext uri="{FF2B5EF4-FFF2-40B4-BE49-F238E27FC236}">
                <a16:creationId xmlns:a16="http://schemas.microsoft.com/office/drawing/2014/main" id="{ECE4878C-1F34-05AC-9F40-4415B7F567A7}"/>
              </a:ext>
            </a:extLst>
          </p:cNvPr>
          <p:cNvSpPr>
            <a:spLocks noGrp="1"/>
          </p:cNvSpPr>
          <p:nvPr>
            <p:ph idx="13"/>
          </p:nvPr>
        </p:nvSpPr>
        <p:spPr>
          <a:xfrm>
            <a:off x="5712728" y="2213267"/>
            <a:ext cx="4300995" cy="2630115"/>
          </a:xfrm>
        </p:spPr>
        <p:txBody>
          <a:bodyPr/>
          <a:lstStyle/>
          <a:p>
            <a:r>
              <a:rPr lang="en-AU" sz="2000" b="1"/>
              <a:t>E-scooters</a:t>
            </a:r>
          </a:p>
          <a:p>
            <a:pPr marL="285750" indent="-285750">
              <a:buFont typeface="Arial" panose="020B0604020202020204" pitchFamily="34" charset="0"/>
              <a:buChar char="•"/>
            </a:pPr>
            <a:r>
              <a:rPr lang="en-AU" sz="1600"/>
              <a:t>More disparate arrangements</a:t>
            </a:r>
          </a:p>
          <a:p>
            <a:pPr marL="285750" indent="-285750">
              <a:buFont typeface="Arial" panose="020B0604020202020204" pitchFamily="34" charset="0"/>
              <a:buChar char="•"/>
            </a:pPr>
            <a:r>
              <a:rPr lang="en-AU" sz="1600"/>
              <a:t>Ongoing responses to safety concerns</a:t>
            </a:r>
          </a:p>
          <a:p>
            <a:pPr marL="285750" indent="-285750">
              <a:buFont typeface="Arial" panose="020B0604020202020204" pitchFamily="34" charset="0"/>
              <a:buChar char="•"/>
            </a:pPr>
            <a:r>
              <a:rPr lang="en-AU" sz="1600"/>
              <a:t>Some countries have requirements for registration, license plates and third-party liability insurance</a:t>
            </a:r>
          </a:p>
          <a:p>
            <a:endParaRPr lang="en-AU" sz="1600" dirty="0"/>
          </a:p>
        </p:txBody>
      </p:sp>
      <p:sp>
        <p:nvSpPr>
          <p:cNvPr id="2" name="Footer Placeholder 4">
            <a:extLst>
              <a:ext uri="{FF2B5EF4-FFF2-40B4-BE49-F238E27FC236}">
                <a16:creationId xmlns:a16="http://schemas.microsoft.com/office/drawing/2014/main" id="{20A7416F-C66E-6D6F-FBC4-2A2666EECE2D}"/>
              </a:ext>
            </a:extLst>
          </p:cNvPr>
          <p:cNvSpPr>
            <a:spLocks noGrp="1"/>
          </p:cNvSpPr>
          <p:nvPr>
            <p:ph type="ftr" sz="quarter" idx="3"/>
          </p:nvPr>
        </p:nvSpPr>
        <p:spPr>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tx1"/>
                </a:solidFill>
              </a:rPr>
              <a:t>Presented at the 2025 IDSS</a:t>
            </a:r>
          </a:p>
        </p:txBody>
      </p:sp>
      <p:sp>
        <p:nvSpPr>
          <p:cNvPr id="12" name="Content Placeholder 9">
            <a:extLst>
              <a:ext uri="{FF2B5EF4-FFF2-40B4-BE49-F238E27FC236}">
                <a16:creationId xmlns:a16="http://schemas.microsoft.com/office/drawing/2014/main" id="{13398ABF-2972-DE2D-085E-2BA10CE2A7C4}"/>
              </a:ext>
            </a:extLst>
          </p:cNvPr>
          <p:cNvSpPr txBox="1">
            <a:spLocks/>
          </p:cNvSpPr>
          <p:nvPr/>
        </p:nvSpPr>
        <p:spPr>
          <a:xfrm>
            <a:off x="3269268" y="3793921"/>
            <a:ext cx="3031355" cy="217336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1800"/>
              </a:spcBef>
              <a:spcAft>
                <a:spcPts val="600"/>
              </a:spcAft>
              <a:buFont typeface="Arial" panose="020B0604020202020204" pitchFamily="34" charset="0"/>
              <a:buNone/>
              <a:defRPr sz="1400" kern="1200">
                <a:solidFill>
                  <a:schemeClr val="accent3"/>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1400" kern="1200">
                <a:solidFill>
                  <a:schemeClr val="accent3"/>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chemeClr val="tx1"/>
              </a:solidFill>
            </a:endParaRPr>
          </a:p>
        </p:txBody>
      </p:sp>
      <p:pic>
        <p:nvPicPr>
          <p:cNvPr id="3" name="Picture 2">
            <a:extLst>
              <a:ext uri="{FF2B5EF4-FFF2-40B4-BE49-F238E27FC236}">
                <a16:creationId xmlns:a16="http://schemas.microsoft.com/office/drawing/2014/main" id="{F782FEEB-D09E-FBA8-0BAA-1B15B959D5E7}"/>
              </a:ext>
            </a:extLst>
          </p:cNvPr>
          <p:cNvPicPr>
            <a:picLocks noChangeAspect="1"/>
          </p:cNvPicPr>
          <p:nvPr/>
        </p:nvPicPr>
        <p:blipFill>
          <a:blip r:embed="rId3"/>
          <a:stretch>
            <a:fillRect/>
          </a:stretch>
        </p:blipFill>
        <p:spPr>
          <a:xfrm>
            <a:off x="11113046" y="288389"/>
            <a:ext cx="709061" cy="709061"/>
          </a:xfrm>
          <a:prstGeom prst="rect">
            <a:avLst/>
          </a:prstGeom>
        </p:spPr>
      </p:pic>
      <p:pic>
        <p:nvPicPr>
          <p:cNvPr id="5" name="Picture 4">
            <a:extLst>
              <a:ext uri="{FF2B5EF4-FFF2-40B4-BE49-F238E27FC236}">
                <a16:creationId xmlns:a16="http://schemas.microsoft.com/office/drawing/2014/main" id="{2E50774D-BB8D-A82B-11AF-6E75A0FFACBA}"/>
              </a:ext>
            </a:extLst>
          </p:cNvPr>
          <p:cNvPicPr>
            <a:picLocks noChangeAspect="1"/>
          </p:cNvPicPr>
          <p:nvPr/>
        </p:nvPicPr>
        <p:blipFill>
          <a:blip r:embed="rId4"/>
          <a:stretch>
            <a:fillRect/>
          </a:stretch>
        </p:blipFill>
        <p:spPr>
          <a:xfrm>
            <a:off x="11113045" y="2122002"/>
            <a:ext cx="709061" cy="709061"/>
          </a:xfrm>
          <a:prstGeom prst="rect">
            <a:avLst/>
          </a:prstGeom>
        </p:spPr>
      </p:pic>
      <p:pic>
        <p:nvPicPr>
          <p:cNvPr id="6" name="Picture 5">
            <a:extLst>
              <a:ext uri="{FF2B5EF4-FFF2-40B4-BE49-F238E27FC236}">
                <a16:creationId xmlns:a16="http://schemas.microsoft.com/office/drawing/2014/main" id="{861A2571-B3E6-2315-D4FA-142F0F1A2695}"/>
              </a:ext>
            </a:extLst>
          </p:cNvPr>
          <p:cNvPicPr>
            <a:picLocks noChangeAspect="1"/>
          </p:cNvPicPr>
          <p:nvPr/>
        </p:nvPicPr>
        <p:blipFill>
          <a:blip r:embed="rId5"/>
          <a:stretch>
            <a:fillRect/>
          </a:stretch>
        </p:blipFill>
        <p:spPr>
          <a:xfrm>
            <a:off x="11109457" y="1216046"/>
            <a:ext cx="687360" cy="687360"/>
          </a:xfrm>
          <a:prstGeom prst="rect">
            <a:avLst/>
          </a:prstGeom>
        </p:spPr>
      </p:pic>
      <p:pic>
        <p:nvPicPr>
          <p:cNvPr id="7" name="Picture 6">
            <a:extLst>
              <a:ext uri="{FF2B5EF4-FFF2-40B4-BE49-F238E27FC236}">
                <a16:creationId xmlns:a16="http://schemas.microsoft.com/office/drawing/2014/main" id="{AD75F007-C4AA-6B7F-0D68-3C1FEC0A4F26}"/>
              </a:ext>
            </a:extLst>
          </p:cNvPr>
          <p:cNvPicPr>
            <a:picLocks noChangeAspect="1"/>
          </p:cNvPicPr>
          <p:nvPr/>
        </p:nvPicPr>
        <p:blipFill>
          <a:blip r:embed="rId6"/>
          <a:stretch>
            <a:fillRect/>
          </a:stretch>
        </p:blipFill>
        <p:spPr>
          <a:xfrm>
            <a:off x="11098607" y="3045113"/>
            <a:ext cx="723499" cy="723499"/>
          </a:xfrm>
          <a:prstGeom prst="rect">
            <a:avLst/>
          </a:prstGeom>
        </p:spPr>
      </p:pic>
      <p:pic>
        <p:nvPicPr>
          <p:cNvPr id="9" name="Picture 8">
            <a:extLst>
              <a:ext uri="{FF2B5EF4-FFF2-40B4-BE49-F238E27FC236}">
                <a16:creationId xmlns:a16="http://schemas.microsoft.com/office/drawing/2014/main" id="{220BB234-5D23-C216-616F-52C87B5A9E93}"/>
              </a:ext>
            </a:extLst>
          </p:cNvPr>
          <p:cNvPicPr>
            <a:picLocks noChangeAspect="1"/>
          </p:cNvPicPr>
          <p:nvPr/>
        </p:nvPicPr>
        <p:blipFill>
          <a:blip r:embed="rId7"/>
          <a:stretch>
            <a:fillRect/>
          </a:stretch>
        </p:blipFill>
        <p:spPr>
          <a:xfrm>
            <a:off x="11113045" y="4920211"/>
            <a:ext cx="709061" cy="709061"/>
          </a:xfrm>
          <a:prstGeom prst="rect">
            <a:avLst/>
          </a:prstGeom>
        </p:spPr>
      </p:pic>
      <p:pic>
        <p:nvPicPr>
          <p:cNvPr id="10" name="Picture 9">
            <a:extLst>
              <a:ext uri="{FF2B5EF4-FFF2-40B4-BE49-F238E27FC236}">
                <a16:creationId xmlns:a16="http://schemas.microsoft.com/office/drawing/2014/main" id="{0874AFFB-3DF0-B279-0121-6589F08BE3CD}"/>
              </a:ext>
            </a:extLst>
          </p:cNvPr>
          <p:cNvPicPr>
            <a:picLocks noChangeAspect="1"/>
          </p:cNvPicPr>
          <p:nvPr/>
        </p:nvPicPr>
        <p:blipFill>
          <a:blip r:embed="rId8"/>
          <a:stretch>
            <a:fillRect/>
          </a:stretch>
        </p:blipFill>
        <p:spPr>
          <a:xfrm>
            <a:off x="11109457" y="5843322"/>
            <a:ext cx="687361" cy="687361"/>
          </a:xfrm>
          <a:prstGeom prst="rect">
            <a:avLst/>
          </a:prstGeom>
        </p:spPr>
      </p:pic>
      <p:pic>
        <p:nvPicPr>
          <p:cNvPr id="11" name="Picture 10">
            <a:extLst>
              <a:ext uri="{FF2B5EF4-FFF2-40B4-BE49-F238E27FC236}">
                <a16:creationId xmlns:a16="http://schemas.microsoft.com/office/drawing/2014/main" id="{CD0A3647-18E3-B8C3-B8EC-42B0F7B2242A}"/>
              </a:ext>
            </a:extLst>
          </p:cNvPr>
          <p:cNvPicPr>
            <a:picLocks noChangeAspect="1"/>
          </p:cNvPicPr>
          <p:nvPr/>
        </p:nvPicPr>
        <p:blipFill>
          <a:blip r:embed="rId9"/>
          <a:stretch>
            <a:fillRect/>
          </a:stretch>
        </p:blipFill>
        <p:spPr>
          <a:xfrm>
            <a:off x="11098607" y="3982662"/>
            <a:ext cx="723499" cy="723499"/>
          </a:xfrm>
          <a:prstGeom prst="rect">
            <a:avLst/>
          </a:prstGeom>
        </p:spPr>
      </p:pic>
      <p:pic>
        <p:nvPicPr>
          <p:cNvPr id="13" name="Picture 12">
            <a:extLst>
              <a:ext uri="{FF2B5EF4-FFF2-40B4-BE49-F238E27FC236}">
                <a16:creationId xmlns:a16="http://schemas.microsoft.com/office/drawing/2014/main" id="{91CE47A8-C788-16DA-D420-9DD1822D54BB}"/>
              </a:ext>
            </a:extLst>
          </p:cNvPr>
          <p:cNvPicPr>
            <a:picLocks noChangeAspect="1"/>
          </p:cNvPicPr>
          <p:nvPr/>
        </p:nvPicPr>
        <p:blipFill>
          <a:blip r:embed="rId10">
            <a:duotone>
              <a:schemeClr val="accent1">
                <a:shade val="45000"/>
                <a:satMod val="135000"/>
              </a:schemeClr>
              <a:prstClr val="white"/>
            </a:duotone>
          </a:blip>
          <a:stretch>
            <a:fillRect/>
          </a:stretch>
        </p:blipFill>
        <p:spPr>
          <a:xfrm>
            <a:off x="7809720" y="1789172"/>
            <a:ext cx="687360" cy="687360"/>
          </a:xfrm>
          <a:prstGeom prst="rect">
            <a:avLst/>
          </a:prstGeom>
        </p:spPr>
      </p:pic>
      <p:pic>
        <p:nvPicPr>
          <p:cNvPr id="14" name="Picture 13">
            <a:extLst>
              <a:ext uri="{FF2B5EF4-FFF2-40B4-BE49-F238E27FC236}">
                <a16:creationId xmlns:a16="http://schemas.microsoft.com/office/drawing/2014/main" id="{68B8B6BA-4DB1-7E89-A872-55A5AA28A987}"/>
              </a:ext>
            </a:extLst>
          </p:cNvPr>
          <p:cNvPicPr>
            <a:picLocks noChangeAspect="1"/>
          </p:cNvPicPr>
          <p:nvPr/>
        </p:nvPicPr>
        <p:blipFill>
          <a:blip r:embed="rId11">
            <a:duotone>
              <a:schemeClr val="accent1">
                <a:shade val="45000"/>
                <a:satMod val="135000"/>
              </a:schemeClr>
              <a:prstClr val="white"/>
            </a:duotone>
          </a:blip>
          <a:stretch>
            <a:fillRect/>
          </a:stretch>
        </p:blipFill>
        <p:spPr>
          <a:xfrm>
            <a:off x="2133666" y="1789172"/>
            <a:ext cx="687360" cy="687360"/>
          </a:xfrm>
          <a:prstGeom prst="rect">
            <a:avLst/>
          </a:prstGeom>
        </p:spPr>
      </p:pic>
    </p:spTree>
    <p:extLst>
      <p:ext uri="{BB962C8B-B14F-4D97-AF65-F5344CB8AC3E}">
        <p14:creationId xmlns:p14="http://schemas.microsoft.com/office/powerpoint/2010/main" val="38199058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ACED9A-8B93-5683-6C0A-B33119AE1BF5}"/>
              </a:ext>
            </a:extLst>
          </p:cNvPr>
          <p:cNvSpPr/>
          <p:nvPr/>
        </p:nvSpPr>
        <p:spPr>
          <a:xfrm>
            <a:off x="326847" y="1376039"/>
            <a:ext cx="11538304" cy="22974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itle 2">
            <a:extLst>
              <a:ext uri="{FF2B5EF4-FFF2-40B4-BE49-F238E27FC236}">
                <a16:creationId xmlns:a16="http://schemas.microsoft.com/office/drawing/2014/main" id="{89857CBF-7CA0-0A56-6F28-633958777D31}"/>
              </a:ext>
            </a:extLst>
          </p:cNvPr>
          <p:cNvSpPr>
            <a:spLocks noGrp="1"/>
          </p:cNvSpPr>
          <p:nvPr>
            <p:ph type="title"/>
          </p:nvPr>
        </p:nvSpPr>
        <p:spPr/>
        <p:txBody>
          <a:bodyPr/>
          <a:lstStyle/>
          <a:p>
            <a:r>
              <a:rPr lang="en-US" dirty="0"/>
              <a:t>E-micromobility in NSW</a:t>
            </a:r>
          </a:p>
        </p:txBody>
      </p:sp>
      <p:sp>
        <p:nvSpPr>
          <p:cNvPr id="16" name="Content Placeholder 15">
            <a:extLst>
              <a:ext uri="{FF2B5EF4-FFF2-40B4-BE49-F238E27FC236}">
                <a16:creationId xmlns:a16="http://schemas.microsoft.com/office/drawing/2014/main" id="{8DC16C13-1BE4-6C0B-B0C5-25ECE2CE68AB}"/>
              </a:ext>
            </a:extLst>
          </p:cNvPr>
          <p:cNvSpPr>
            <a:spLocks noGrp="1"/>
          </p:cNvSpPr>
          <p:nvPr>
            <p:ph idx="1"/>
          </p:nvPr>
        </p:nvSpPr>
        <p:spPr>
          <a:xfrm>
            <a:off x="494333" y="2019270"/>
            <a:ext cx="4114800" cy="1383252"/>
          </a:xfrm>
        </p:spPr>
        <p:txBody>
          <a:bodyPr/>
          <a:lstStyle/>
          <a:p>
            <a:pPr marL="285750" indent="-285750">
              <a:spcBef>
                <a:spcPts val="0"/>
              </a:spcBef>
              <a:spcAft>
                <a:spcPts val="300"/>
              </a:spcAft>
              <a:buFont typeface="Arial" panose="020B0604020202020204" pitchFamily="34" charset="0"/>
              <a:buChar char="•"/>
            </a:pPr>
            <a:r>
              <a:rPr lang="en-AU" sz="1600" dirty="0">
                <a:solidFill>
                  <a:schemeClr val="tx1"/>
                </a:solidFill>
              </a:rPr>
              <a:t>Share scheme trials commenced in December 2022</a:t>
            </a:r>
          </a:p>
          <a:p>
            <a:pPr marL="285750" indent="-285750">
              <a:spcBef>
                <a:spcPts val="0"/>
              </a:spcBef>
              <a:spcAft>
                <a:spcPts val="300"/>
              </a:spcAft>
              <a:buFont typeface="Arial" panose="020B0604020202020204" pitchFamily="34" charset="0"/>
              <a:buChar char="•"/>
            </a:pPr>
            <a:r>
              <a:rPr lang="en-AU" sz="1600" dirty="0">
                <a:solidFill>
                  <a:schemeClr val="tx1"/>
                </a:solidFill>
              </a:rPr>
              <a:t>Privately owned e-scooters illegal on public roads</a:t>
            </a:r>
          </a:p>
          <a:p>
            <a:pPr marL="285750" indent="-285750">
              <a:spcBef>
                <a:spcPts val="0"/>
              </a:spcBef>
              <a:spcAft>
                <a:spcPts val="300"/>
              </a:spcAft>
              <a:buFont typeface="Arial" panose="020B0604020202020204" pitchFamily="34" charset="0"/>
              <a:buChar char="•"/>
            </a:pPr>
            <a:r>
              <a:rPr lang="en-AU" sz="1600" dirty="0">
                <a:solidFill>
                  <a:schemeClr val="tx1"/>
                </a:solidFill>
              </a:rPr>
              <a:t>Plans to legalise private e-scooters on public roads</a:t>
            </a:r>
          </a:p>
          <a:p>
            <a:endParaRPr lang="en-AU" sz="1600" dirty="0">
              <a:solidFill>
                <a:schemeClr val="tx1"/>
              </a:solidFill>
            </a:endParaRPr>
          </a:p>
        </p:txBody>
      </p:sp>
      <p:sp>
        <p:nvSpPr>
          <p:cNvPr id="5" name="Slide Number Placeholder 4">
            <a:extLst>
              <a:ext uri="{FF2B5EF4-FFF2-40B4-BE49-F238E27FC236}">
                <a16:creationId xmlns:a16="http://schemas.microsoft.com/office/drawing/2014/main" id="{3C2B1F90-91EE-E1EB-8D5A-0B2FDDC19B11}"/>
              </a:ext>
            </a:extLst>
          </p:cNvPr>
          <p:cNvSpPr>
            <a:spLocks noGrp="1"/>
          </p:cNvSpPr>
          <p:nvPr>
            <p:ph type="sldNum" sz="quarter" idx="12"/>
          </p:nvPr>
        </p:nvSpPr>
        <p:spPr/>
        <p:txBody>
          <a:bodyPr/>
          <a:lstStyle/>
          <a:p>
            <a:fld id="{741AFF56-1126-4107-9C02-BC0EFBF16431}" type="slidenum">
              <a:rPr lang="en-GB" smtClean="0"/>
              <a:pPr/>
              <a:t>4</a:t>
            </a:fld>
            <a:endParaRPr lang="en-GB" dirty="0"/>
          </a:p>
        </p:txBody>
      </p:sp>
      <p:sp>
        <p:nvSpPr>
          <p:cNvPr id="17" name="Content Placeholder 16">
            <a:extLst>
              <a:ext uri="{FF2B5EF4-FFF2-40B4-BE49-F238E27FC236}">
                <a16:creationId xmlns:a16="http://schemas.microsoft.com/office/drawing/2014/main" id="{7369FEB0-1CC2-3DEA-8D97-84E3A9BF6C05}"/>
              </a:ext>
            </a:extLst>
          </p:cNvPr>
          <p:cNvSpPr>
            <a:spLocks noGrp="1"/>
          </p:cNvSpPr>
          <p:nvPr>
            <p:ph idx="13"/>
          </p:nvPr>
        </p:nvSpPr>
        <p:spPr>
          <a:xfrm>
            <a:off x="4856518" y="2019270"/>
            <a:ext cx="2478962" cy="262632"/>
          </a:xfrm>
        </p:spPr>
        <p:txBody>
          <a:bodyPr/>
          <a:lstStyle/>
          <a:p>
            <a:pPr marL="285750" indent="-285750">
              <a:buFont typeface="Arial" panose="020B0604020202020204" pitchFamily="34" charset="0"/>
              <a:buChar char="•"/>
            </a:pPr>
            <a:r>
              <a:rPr lang="en-AU" sz="1600" dirty="0">
                <a:solidFill>
                  <a:schemeClr val="tx1"/>
                </a:solidFill>
              </a:rPr>
              <a:t>E-bikes legal on public roads when they meet required specifications</a:t>
            </a:r>
          </a:p>
        </p:txBody>
      </p:sp>
      <p:sp>
        <p:nvSpPr>
          <p:cNvPr id="2" name="Footer Placeholder 4">
            <a:extLst>
              <a:ext uri="{FF2B5EF4-FFF2-40B4-BE49-F238E27FC236}">
                <a16:creationId xmlns:a16="http://schemas.microsoft.com/office/drawing/2014/main" id="{37CE5CA2-F18E-5F30-BE5E-28AAC6CB15B3}"/>
              </a:ext>
            </a:extLst>
          </p:cNvPr>
          <p:cNvSpPr>
            <a:spLocks noGrp="1"/>
          </p:cNvSpPr>
          <p:nvPr>
            <p:ph type="ftr" sz="quarter" idx="3"/>
          </p:nvPr>
        </p:nvSpPr>
        <p:spPr>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tx1"/>
                </a:solidFill>
              </a:rPr>
              <a:t>Presented at the 2025 IDSS</a:t>
            </a:r>
          </a:p>
        </p:txBody>
      </p:sp>
      <p:pic>
        <p:nvPicPr>
          <p:cNvPr id="12" name="Picture 11">
            <a:extLst>
              <a:ext uri="{FF2B5EF4-FFF2-40B4-BE49-F238E27FC236}">
                <a16:creationId xmlns:a16="http://schemas.microsoft.com/office/drawing/2014/main" id="{28CC8196-A503-B096-D198-B53F21BBC6B0}"/>
              </a:ext>
            </a:extLst>
          </p:cNvPr>
          <p:cNvPicPr>
            <a:picLocks noChangeAspect="1"/>
          </p:cNvPicPr>
          <p:nvPr/>
        </p:nvPicPr>
        <p:blipFill>
          <a:blip r:embed="rId3">
            <a:duotone>
              <a:schemeClr val="accent1">
                <a:shade val="45000"/>
                <a:satMod val="135000"/>
              </a:schemeClr>
              <a:prstClr val="white"/>
            </a:duotone>
          </a:blip>
          <a:stretch>
            <a:fillRect/>
          </a:stretch>
        </p:blipFill>
        <p:spPr>
          <a:xfrm>
            <a:off x="2319960" y="1455627"/>
            <a:ext cx="463550" cy="463550"/>
          </a:xfrm>
          <a:prstGeom prst="rect">
            <a:avLst/>
          </a:prstGeom>
        </p:spPr>
      </p:pic>
      <p:pic>
        <p:nvPicPr>
          <p:cNvPr id="13" name="Picture 12">
            <a:extLst>
              <a:ext uri="{FF2B5EF4-FFF2-40B4-BE49-F238E27FC236}">
                <a16:creationId xmlns:a16="http://schemas.microsoft.com/office/drawing/2014/main" id="{0866D1CD-C8A5-5A7A-5D19-FA965861E347}"/>
              </a:ext>
            </a:extLst>
          </p:cNvPr>
          <p:cNvPicPr>
            <a:picLocks noChangeAspect="1"/>
          </p:cNvPicPr>
          <p:nvPr/>
        </p:nvPicPr>
        <p:blipFill>
          <a:blip r:embed="rId4">
            <a:duotone>
              <a:schemeClr val="accent1">
                <a:shade val="45000"/>
                <a:satMod val="135000"/>
              </a:schemeClr>
              <a:prstClr val="white"/>
            </a:duotone>
          </a:blip>
          <a:stretch>
            <a:fillRect/>
          </a:stretch>
        </p:blipFill>
        <p:spPr>
          <a:xfrm>
            <a:off x="5864224" y="1455627"/>
            <a:ext cx="463550" cy="463550"/>
          </a:xfrm>
          <a:prstGeom prst="rect">
            <a:avLst/>
          </a:prstGeom>
        </p:spPr>
      </p:pic>
      <p:pic>
        <p:nvPicPr>
          <p:cNvPr id="18" name="Picture 17">
            <a:extLst>
              <a:ext uri="{FF2B5EF4-FFF2-40B4-BE49-F238E27FC236}">
                <a16:creationId xmlns:a16="http://schemas.microsoft.com/office/drawing/2014/main" id="{67C80678-DA4F-2AC1-6064-2E41B4D31ED3}"/>
              </a:ext>
            </a:extLst>
          </p:cNvPr>
          <p:cNvPicPr>
            <a:picLocks noChangeAspect="1"/>
          </p:cNvPicPr>
          <p:nvPr/>
        </p:nvPicPr>
        <p:blipFill>
          <a:blip r:embed="rId5">
            <a:duotone>
              <a:schemeClr val="accent1">
                <a:shade val="45000"/>
                <a:satMod val="135000"/>
              </a:schemeClr>
              <a:prstClr val="white"/>
            </a:duotone>
          </a:blip>
          <a:stretch>
            <a:fillRect/>
          </a:stretch>
        </p:blipFill>
        <p:spPr>
          <a:xfrm>
            <a:off x="9408488" y="1520824"/>
            <a:ext cx="463550" cy="463550"/>
          </a:xfrm>
          <a:prstGeom prst="rect">
            <a:avLst/>
          </a:prstGeom>
        </p:spPr>
      </p:pic>
      <p:sp>
        <p:nvSpPr>
          <p:cNvPr id="19" name="Content Placeholder 15">
            <a:extLst>
              <a:ext uri="{FF2B5EF4-FFF2-40B4-BE49-F238E27FC236}">
                <a16:creationId xmlns:a16="http://schemas.microsoft.com/office/drawing/2014/main" id="{9553AE76-ADC7-4B9F-BF44-588C1C8BB2D7}"/>
              </a:ext>
            </a:extLst>
          </p:cNvPr>
          <p:cNvSpPr txBox="1">
            <a:spLocks/>
          </p:cNvSpPr>
          <p:nvPr/>
        </p:nvSpPr>
        <p:spPr>
          <a:xfrm>
            <a:off x="7582865" y="2017690"/>
            <a:ext cx="4114800" cy="456151"/>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1800"/>
              </a:spcBef>
              <a:spcAft>
                <a:spcPts val="600"/>
              </a:spcAft>
              <a:buFont typeface="Arial" panose="020B0604020202020204" pitchFamily="34" charset="0"/>
              <a:buNone/>
              <a:defRPr sz="1400" kern="1200">
                <a:solidFill>
                  <a:schemeClr val="accent3"/>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1400" kern="1200">
                <a:solidFill>
                  <a:schemeClr val="accent3"/>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AU" sz="1600" dirty="0">
                <a:solidFill>
                  <a:schemeClr val="tx1"/>
                </a:solidFill>
              </a:rPr>
              <a:t>E-micromobility devices do not require registration and are therefore ineligible for CTP insurance</a:t>
            </a:r>
          </a:p>
        </p:txBody>
      </p:sp>
      <p:graphicFrame>
        <p:nvGraphicFramePr>
          <p:cNvPr id="6" name="Table 5">
            <a:extLst>
              <a:ext uri="{FF2B5EF4-FFF2-40B4-BE49-F238E27FC236}">
                <a16:creationId xmlns:a16="http://schemas.microsoft.com/office/drawing/2014/main" id="{E23CE4E0-FC0D-08B1-A57B-4DD6B2ABD994}"/>
              </a:ext>
            </a:extLst>
          </p:cNvPr>
          <p:cNvGraphicFramePr>
            <a:graphicFrameLocks noGrp="1"/>
          </p:cNvGraphicFramePr>
          <p:nvPr>
            <p:extLst>
              <p:ext uri="{D42A27DB-BD31-4B8C-83A1-F6EECF244321}">
                <p14:modId xmlns:p14="http://schemas.microsoft.com/office/powerpoint/2010/main" val="666200002"/>
              </p:ext>
            </p:extLst>
          </p:nvPr>
        </p:nvGraphicFramePr>
        <p:xfrm>
          <a:off x="326847" y="4023355"/>
          <a:ext cx="11538302" cy="1580739"/>
        </p:xfrm>
        <a:graphic>
          <a:graphicData uri="http://schemas.openxmlformats.org/drawingml/2006/table">
            <a:tbl>
              <a:tblPr firstRow="1" bandRow="1">
                <a:tableStyleId>{5C22544A-7EE6-4342-B048-85BDC9FD1C3A}</a:tableStyleId>
              </a:tblPr>
              <a:tblGrid>
                <a:gridCol w="1359910">
                  <a:extLst>
                    <a:ext uri="{9D8B030D-6E8A-4147-A177-3AD203B41FA5}">
                      <a16:colId xmlns:a16="http://schemas.microsoft.com/office/drawing/2014/main" val="1581807999"/>
                    </a:ext>
                  </a:extLst>
                </a:gridCol>
                <a:gridCol w="1272299">
                  <a:extLst>
                    <a:ext uri="{9D8B030D-6E8A-4147-A177-3AD203B41FA5}">
                      <a16:colId xmlns:a16="http://schemas.microsoft.com/office/drawing/2014/main" val="4118604156"/>
                    </a:ext>
                  </a:extLst>
                </a:gridCol>
                <a:gridCol w="1272299">
                  <a:extLst>
                    <a:ext uri="{9D8B030D-6E8A-4147-A177-3AD203B41FA5}">
                      <a16:colId xmlns:a16="http://schemas.microsoft.com/office/drawing/2014/main" val="296463509"/>
                    </a:ext>
                  </a:extLst>
                </a:gridCol>
                <a:gridCol w="1272299">
                  <a:extLst>
                    <a:ext uri="{9D8B030D-6E8A-4147-A177-3AD203B41FA5}">
                      <a16:colId xmlns:a16="http://schemas.microsoft.com/office/drawing/2014/main" val="3891367036"/>
                    </a:ext>
                  </a:extLst>
                </a:gridCol>
                <a:gridCol w="1272299">
                  <a:extLst>
                    <a:ext uri="{9D8B030D-6E8A-4147-A177-3AD203B41FA5}">
                      <a16:colId xmlns:a16="http://schemas.microsoft.com/office/drawing/2014/main" val="3141965345"/>
                    </a:ext>
                  </a:extLst>
                </a:gridCol>
                <a:gridCol w="1272299">
                  <a:extLst>
                    <a:ext uri="{9D8B030D-6E8A-4147-A177-3AD203B41FA5}">
                      <a16:colId xmlns:a16="http://schemas.microsoft.com/office/drawing/2014/main" val="4270763671"/>
                    </a:ext>
                  </a:extLst>
                </a:gridCol>
                <a:gridCol w="1272299">
                  <a:extLst>
                    <a:ext uri="{9D8B030D-6E8A-4147-A177-3AD203B41FA5}">
                      <a16:colId xmlns:a16="http://schemas.microsoft.com/office/drawing/2014/main" val="1568092288"/>
                    </a:ext>
                  </a:extLst>
                </a:gridCol>
                <a:gridCol w="1272299">
                  <a:extLst>
                    <a:ext uri="{9D8B030D-6E8A-4147-A177-3AD203B41FA5}">
                      <a16:colId xmlns:a16="http://schemas.microsoft.com/office/drawing/2014/main" val="1411947473"/>
                    </a:ext>
                  </a:extLst>
                </a:gridCol>
                <a:gridCol w="1272299">
                  <a:extLst>
                    <a:ext uri="{9D8B030D-6E8A-4147-A177-3AD203B41FA5}">
                      <a16:colId xmlns:a16="http://schemas.microsoft.com/office/drawing/2014/main" val="1280031634"/>
                    </a:ext>
                  </a:extLst>
                </a:gridCol>
              </a:tblGrid>
              <a:tr h="526913">
                <a:tc>
                  <a:txBody>
                    <a:bodyPr/>
                    <a:lstStyle/>
                    <a:p>
                      <a:r>
                        <a:rPr lang="en-AU" sz="1400" dirty="0"/>
                        <a:t>Legal</a:t>
                      </a:r>
                    </a:p>
                    <a:p>
                      <a:r>
                        <a:rPr lang="en-AU" sz="1400" dirty="0"/>
                        <a:t>e-scooter use</a:t>
                      </a:r>
                    </a:p>
                  </a:txBody>
                  <a:tcPr anchor="ctr"/>
                </a:tc>
                <a:tc>
                  <a:txBody>
                    <a:bodyPr/>
                    <a:lstStyle/>
                    <a:p>
                      <a:pPr algn="ctr"/>
                      <a:r>
                        <a:rPr lang="en-AU" sz="1400" dirty="0"/>
                        <a:t>NSW</a:t>
                      </a:r>
                    </a:p>
                  </a:txBody>
                  <a:tcPr anchor="ctr">
                    <a:solidFill>
                      <a:schemeClr val="bg1">
                        <a:lumMod val="50000"/>
                      </a:schemeClr>
                    </a:solidFill>
                  </a:tcPr>
                </a:tc>
                <a:tc>
                  <a:txBody>
                    <a:bodyPr/>
                    <a:lstStyle/>
                    <a:p>
                      <a:pPr algn="ctr"/>
                      <a:r>
                        <a:rPr lang="en-AU" sz="1400" dirty="0"/>
                        <a:t>ACT</a:t>
                      </a:r>
                    </a:p>
                  </a:txBody>
                  <a:tcPr anchor="ctr"/>
                </a:tc>
                <a:tc>
                  <a:txBody>
                    <a:bodyPr/>
                    <a:lstStyle/>
                    <a:p>
                      <a:pPr algn="ctr"/>
                      <a:r>
                        <a:rPr lang="en-AU" sz="1400" dirty="0"/>
                        <a:t>VIC</a:t>
                      </a:r>
                    </a:p>
                  </a:txBody>
                  <a:tcPr anchor="ctr"/>
                </a:tc>
                <a:tc>
                  <a:txBody>
                    <a:bodyPr/>
                    <a:lstStyle/>
                    <a:p>
                      <a:pPr algn="ctr"/>
                      <a:r>
                        <a:rPr lang="en-AU" sz="1400" dirty="0"/>
                        <a:t>TAS</a:t>
                      </a:r>
                    </a:p>
                  </a:txBody>
                  <a:tcPr anchor="ctr"/>
                </a:tc>
                <a:tc>
                  <a:txBody>
                    <a:bodyPr/>
                    <a:lstStyle/>
                    <a:p>
                      <a:pPr algn="ctr"/>
                      <a:r>
                        <a:rPr lang="en-AU" sz="1400" dirty="0"/>
                        <a:t>SA</a:t>
                      </a:r>
                    </a:p>
                  </a:txBody>
                  <a:tcPr anchor="ctr"/>
                </a:tc>
                <a:tc>
                  <a:txBody>
                    <a:bodyPr/>
                    <a:lstStyle/>
                    <a:p>
                      <a:pPr algn="ctr"/>
                      <a:r>
                        <a:rPr lang="en-AU" sz="1400" dirty="0"/>
                        <a:t>WA</a:t>
                      </a:r>
                    </a:p>
                  </a:txBody>
                  <a:tcPr anchor="ctr"/>
                </a:tc>
                <a:tc>
                  <a:txBody>
                    <a:bodyPr/>
                    <a:lstStyle/>
                    <a:p>
                      <a:pPr algn="ctr"/>
                      <a:r>
                        <a:rPr lang="en-AU" sz="1400" dirty="0"/>
                        <a:t>NT</a:t>
                      </a:r>
                    </a:p>
                  </a:txBody>
                  <a:tcPr anchor="ctr"/>
                </a:tc>
                <a:tc>
                  <a:txBody>
                    <a:bodyPr/>
                    <a:lstStyle/>
                    <a:p>
                      <a:pPr algn="ctr"/>
                      <a:r>
                        <a:rPr lang="en-AU" sz="1400" dirty="0"/>
                        <a:t>QLD</a:t>
                      </a:r>
                    </a:p>
                  </a:txBody>
                  <a:tcPr anchor="ctr"/>
                </a:tc>
                <a:extLst>
                  <a:ext uri="{0D108BD9-81ED-4DB2-BD59-A6C34878D82A}">
                    <a16:rowId xmlns:a16="http://schemas.microsoft.com/office/drawing/2014/main" val="3571764256"/>
                  </a:ext>
                </a:extLst>
              </a:tr>
              <a:tr h="526913">
                <a:tc>
                  <a:txBody>
                    <a:bodyPr/>
                    <a:lstStyle/>
                    <a:p>
                      <a:r>
                        <a:rPr lang="en-AU" sz="1400" dirty="0"/>
                        <a:t>Shared scheme</a:t>
                      </a:r>
                    </a:p>
                  </a:txBody>
                  <a:tcPr anchor="ctr"/>
                </a:tc>
                <a:tc>
                  <a:txBody>
                    <a:bodyPr/>
                    <a:lstStyle/>
                    <a:p>
                      <a:pPr algn="ctr"/>
                      <a:endParaRPr lang="en-AU" sz="1400" dirty="0"/>
                    </a:p>
                  </a:txBody>
                  <a:tcPr>
                    <a:solidFill>
                      <a:schemeClr val="bg1">
                        <a:lumMod val="75000"/>
                      </a:schemeClr>
                    </a:solidFill>
                  </a:tcPr>
                </a:tc>
                <a:tc>
                  <a:txBody>
                    <a:bodyPr/>
                    <a:lstStyle/>
                    <a:p>
                      <a:pPr algn="ctr"/>
                      <a:endParaRPr lang="en-AU" sz="1400" dirty="0"/>
                    </a:p>
                  </a:txBody>
                  <a:tcPr/>
                </a:tc>
                <a:tc>
                  <a:txBody>
                    <a:bodyPr/>
                    <a:lstStyle/>
                    <a:p>
                      <a:pPr algn="ctr"/>
                      <a:endParaRPr lang="en-AU" sz="1400" dirty="0"/>
                    </a:p>
                  </a:txBody>
                  <a:tcPr/>
                </a:tc>
                <a:tc>
                  <a:txBody>
                    <a:bodyPr/>
                    <a:lstStyle/>
                    <a:p>
                      <a:pPr algn="ctr"/>
                      <a:endParaRPr lang="en-AU" sz="1400" dirty="0"/>
                    </a:p>
                  </a:txBody>
                  <a:tcPr/>
                </a:tc>
                <a:tc>
                  <a:txBody>
                    <a:bodyPr/>
                    <a:lstStyle/>
                    <a:p>
                      <a:pPr algn="ctr"/>
                      <a:endParaRPr lang="en-AU" sz="1400" dirty="0"/>
                    </a:p>
                  </a:txBody>
                  <a:tcPr/>
                </a:tc>
                <a:tc>
                  <a:txBody>
                    <a:bodyPr/>
                    <a:lstStyle/>
                    <a:p>
                      <a:pPr algn="ctr"/>
                      <a:endParaRPr lang="en-AU" sz="1400" dirty="0"/>
                    </a:p>
                  </a:txBody>
                  <a:tcPr/>
                </a:tc>
                <a:tc>
                  <a:txBody>
                    <a:bodyPr/>
                    <a:lstStyle/>
                    <a:p>
                      <a:pPr algn="ctr"/>
                      <a:endParaRPr lang="en-AU" sz="1400" dirty="0"/>
                    </a:p>
                  </a:txBody>
                  <a:tcPr/>
                </a:tc>
                <a:tc>
                  <a:txBody>
                    <a:bodyPr/>
                    <a:lstStyle/>
                    <a:p>
                      <a:pPr algn="ctr"/>
                      <a:endParaRPr lang="en-AU" sz="1400" dirty="0"/>
                    </a:p>
                  </a:txBody>
                  <a:tcPr/>
                </a:tc>
                <a:extLst>
                  <a:ext uri="{0D108BD9-81ED-4DB2-BD59-A6C34878D82A}">
                    <a16:rowId xmlns:a16="http://schemas.microsoft.com/office/drawing/2014/main" val="3449929154"/>
                  </a:ext>
                </a:extLst>
              </a:tr>
              <a:tr h="526913">
                <a:tc>
                  <a:txBody>
                    <a:bodyPr/>
                    <a:lstStyle/>
                    <a:p>
                      <a:r>
                        <a:rPr lang="en-AU" sz="1400" dirty="0"/>
                        <a:t>Privately owned</a:t>
                      </a:r>
                    </a:p>
                  </a:txBody>
                  <a:tcPr anchor="ctr"/>
                </a:tc>
                <a:tc>
                  <a:txBody>
                    <a:bodyPr/>
                    <a:lstStyle/>
                    <a:p>
                      <a:pPr algn="ctr"/>
                      <a:endParaRPr lang="en-AU" sz="1400" dirty="0"/>
                    </a:p>
                  </a:txBody>
                  <a:tcPr>
                    <a:solidFill>
                      <a:schemeClr val="bg1">
                        <a:lumMod val="85000"/>
                      </a:schemeClr>
                    </a:solidFill>
                  </a:tcPr>
                </a:tc>
                <a:tc>
                  <a:txBody>
                    <a:bodyPr/>
                    <a:lstStyle/>
                    <a:p>
                      <a:pPr algn="ctr"/>
                      <a:endParaRPr lang="en-AU" sz="1400" dirty="0"/>
                    </a:p>
                  </a:txBody>
                  <a:tcPr/>
                </a:tc>
                <a:tc>
                  <a:txBody>
                    <a:bodyPr/>
                    <a:lstStyle/>
                    <a:p>
                      <a:pPr algn="ctr"/>
                      <a:endParaRPr lang="en-AU" sz="1400" dirty="0"/>
                    </a:p>
                  </a:txBody>
                  <a:tcPr/>
                </a:tc>
                <a:tc>
                  <a:txBody>
                    <a:bodyPr/>
                    <a:lstStyle/>
                    <a:p>
                      <a:pPr algn="ctr"/>
                      <a:endParaRPr lang="en-AU" sz="1400" dirty="0"/>
                    </a:p>
                  </a:txBody>
                  <a:tcPr/>
                </a:tc>
                <a:tc>
                  <a:txBody>
                    <a:bodyPr/>
                    <a:lstStyle/>
                    <a:p>
                      <a:pPr algn="ctr"/>
                      <a:endParaRPr lang="en-AU" sz="1400" dirty="0"/>
                    </a:p>
                  </a:txBody>
                  <a:tcPr/>
                </a:tc>
                <a:tc>
                  <a:txBody>
                    <a:bodyPr/>
                    <a:lstStyle/>
                    <a:p>
                      <a:pPr algn="ctr"/>
                      <a:endParaRPr lang="en-AU" sz="1400" dirty="0"/>
                    </a:p>
                  </a:txBody>
                  <a:tcPr/>
                </a:tc>
                <a:tc>
                  <a:txBody>
                    <a:bodyPr/>
                    <a:lstStyle/>
                    <a:p>
                      <a:pPr algn="ctr"/>
                      <a:endParaRPr lang="en-AU" sz="1400" dirty="0"/>
                    </a:p>
                  </a:txBody>
                  <a:tcPr/>
                </a:tc>
                <a:tc>
                  <a:txBody>
                    <a:bodyPr/>
                    <a:lstStyle/>
                    <a:p>
                      <a:pPr algn="ctr"/>
                      <a:endParaRPr lang="en-AU" sz="1400" dirty="0"/>
                    </a:p>
                  </a:txBody>
                  <a:tcPr/>
                </a:tc>
                <a:extLst>
                  <a:ext uri="{0D108BD9-81ED-4DB2-BD59-A6C34878D82A}">
                    <a16:rowId xmlns:a16="http://schemas.microsoft.com/office/drawing/2014/main" val="2860269357"/>
                  </a:ext>
                </a:extLst>
              </a:tr>
            </a:tbl>
          </a:graphicData>
        </a:graphic>
      </p:graphicFrame>
      <p:pic>
        <p:nvPicPr>
          <p:cNvPr id="22" name="Picture 21">
            <a:extLst>
              <a:ext uri="{FF2B5EF4-FFF2-40B4-BE49-F238E27FC236}">
                <a16:creationId xmlns:a16="http://schemas.microsoft.com/office/drawing/2014/main" id="{D2DECDF6-B2B0-6702-87AF-009462502354}"/>
              </a:ext>
            </a:extLst>
          </p:cNvPr>
          <p:cNvPicPr>
            <a:picLocks noChangeAspect="1"/>
          </p:cNvPicPr>
          <p:nvPr/>
        </p:nvPicPr>
        <p:blipFill>
          <a:blip r:embed="rId6"/>
          <a:stretch>
            <a:fillRect/>
          </a:stretch>
        </p:blipFill>
        <p:spPr>
          <a:xfrm>
            <a:off x="1804877" y="4702892"/>
            <a:ext cx="273871" cy="273871"/>
          </a:xfrm>
          <a:prstGeom prst="rect">
            <a:avLst/>
          </a:prstGeom>
        </p:spPr>
      </p:pic>
      <p:sp>
        <p:nvSpPr>
          <p:cNvPr id="23" name="TextBox 22">
            <a:extLst>
              <a:ext uri="{FF2B5EF4-FFF2-40B4-BE49-F238E27FC236}">
                <a16:creationId xmlns:a16="http://schemas.microsoft.com/office/drawing/2014/main" id="{3585415D-5426-9ED2-794F-7665BB5C9304}"/>
              </a:ext>
            </a:extLst>
          </p:cNvPr>
          <p:cNvSpPr txBox="1"/>
          <p:nvPr/>
        </p:nvSpPr>
        <p:spPr>
          <a:xfrm>
            <a:off x="2035199" y="4702892"/>
            <a:ext cx="846770" cy="307777"/>
          </a:xfrm>
          <a:prstGeom prst="rect">
            <a:avLst/>
          </a:prstGeom>
          <a:noFill/>
        </p:spPr>
        <p:txBody>
          <a:bodyPr wrap="none" rtlCol="0">
            <a:spAutoFit/>
          </a:bodyPr>
          <a:lstStyle/>
          <a:p>
            <a:r>
              <a:rPr lang="en-AU" sz="1400" dirty="0"/>
              <a:t>Trial only</a:t>
            </a:r>
          </a:p>
        </p:txBody>
      </p:sp>
      <p:pic>
        <p:nvPicPr>
          <p:cNvPr id="24" name="Picture 23">
            <a:extLst>
              <a:ext uri="{FF2B5EF4-FFF2-40B4-BE49-F238E27FC236}">
                <a16:creationId xmlns:a16="http://schemas.microsoft.com/office/drawing/2014/main" id="{C0227832-29B8-6FFC-BD48-610F40C410F8}"/>
              </a:ext>
            </a:extLst>
          </p:cNvPr>
          <p:cNvPicPr>
            <a:picLocks noChangeAspect="1"/>
          </p:cNvPicPr>
          <p:nvPr/>
        </p:nvPicPr>
        <p:blipFill>
          <a:blip r:embed="rId6"/>
          <a:stretch>
            <a:fillRect/>
          </a:stretch>
        </p:blipFill>
        <p:spPr>
          <a:xfrm>
            <a:off x="4290740" y="4702892"/>
            <a:ext cx="273871" cy="273871"/>
          </a:xfrm>
          <a:prstGeom prst="rect">
            <a:avLst/>
          </a:prstGeom>
        </p:spPr>
      </p:pic>
      <p:sp>
        <p:nvSpPr>
          <p:cNvPr id="25" name="TextBox 24">
            <a:extLst>
              <a:ext uri="{FF2B5EF4-FFF2-40B4-BE49-F238E27FC236}">
                <a16:creationId xmlns:a16="http://schemas.microsoft.com/office/drawing/2014/main" id="{1A410310-1D07-7959-8705-C9BE47ED5617}"/>
              </a:ext>
            </a:extLst>
          </p:cNvPr>
          <p:cNvSpPr txBox="1"/>
          <p:nvPr/>
        </p:nvSpPr>
        <p:spPr>
          <a:xfrm>
            <a:off x="4568082" y="4595022"/>
            <a:ext cx="1007852" cy="523220"/>
          </a:xfrm>
          <a:prstGeom prst="rect">
            <a:avLst/>
          </a:prstGeom>
          <a:noFill/>
        </p:spPr>
        <p:txBody>
          <a:bodyPr wrap="square" rtlCol="0">
            <a:spAutoFit/>
          </a:bodyPr>
          <a:lstStyle/>
          <a:p>
            <a:r>
              <a:rPr lang="en-AU" sz="1400" dirty="0"/>
              <a:t>Excluding Melbourne</a:t>
            </a:r>
          </a:p>
        </p:txBody>
      </p:sp>
      <p:pic>
        <p:nvPicPr>
          <p:cNvPr id="26" name="Picture 25">
            <a:extLst>
              <a:ext uri="{FF2B5EF4-FFF2-40B4-BE49-F238E27FC236}">
                <a16:creationId xmlns:a16="http://schemas.microsoft.com/office/drawing/2014/main" id="{DC22598F-2C8F-DB46-B12F-C5C8A1F104A0}"/>
              </a:ext>
            </a:extLst>
          </p:cNvPr>
          <p:cNvPicPr>
            <a:picLocks noChangeAspect="1"/>
          </p:cNvPicPr>
          <p:nvPr/>
        </p:nvPicPr>
        <p:blipFill>
          <a:blip r:embed="rId6"/>
          <a:stretch>
            <a:fillRect/>
          </a:stretch>
        </p:blipFill>
        <p:spPr>
          <a:xfrm>
            <a:off x="4746259" y="5228881"/>
            <a:ext cx="273871" cy="273871"/>
          </a:xfrm>
          <a:prstGeom prst="rect">
            <a:avLst/>
          </a:prstGeom>
        </p:spPr>
      </p:pic>
      <p:pic>
        <p:nvPicPr>
          <p:cNvPr id="27" name="Picture 26">
            <a:extLst>
              <a:ext uri="{FF2B5EF4-FFF2-40B4-BE49-F238E27FC236}">
                <a16:creationId xmlns:a16="http://schemas.microsoft.com/office/drawing/2014/main" id="{8AA02855-4246-E417-5ED1-D409A8EA5FE2}"/>
              </a:ext>
            </a:extLst>
          </p:cNvPr>
          <p:cNvPicPr>
            <a:picLocks noChangeAspect="1"/>
          </p:cNvPicPr>
          <p:nvPr/>
        </p:nvPicPr>
        <p:blipFill>
          <a:blip r:embed="rId6"/>
          <a:stretch>
            <a:fillRect/>
          </a:stretch>
        </p:blipFill>
        <p:spPr>
          <a:xfrm>
            <a:off x="3449419" y="4702892"/>
            <a:ext cx="273871" cy="273871"/>
          </a:xfrm>
          <a:prstGeom prst="rect">
            <a:avLst/>
          </a:prstGeom>
        </p:spPr>
      </p:pic>
      <p:pic>
        <p:nvPicPr>
          <p:cNvPr id="28" name="Picture 27">
            <a:extLst>
              <a:ext uri="{FF2B5EF4-FFF2-40B4-BE49-F238E27FC236}">
                <a16:creationId xmlns:a16="http://schemas.microsoft.com/office/drawing/2014/main" id="{8A17A4A6-23F8-4B34-1DEA-A1A52173DE8D}"/>
              </a:ext>
            </a:extLst>
          </p:cNvPr>
          <p:cNvPicPr>
            <a:picLocks noChangeAspect="1"/>
          </p:cNvPicPr>
          <p:nvPr/>
        </p:nvPicPr>
        <p:blipFill>
          <a:blip r:embed="rId6"/>
          <a:stretch>
            <a:fillRect/>
          </a:stretch>
        </p:blipFill>
        <p:spPr>
          <a:xfrm>
            <a:off x="3449418" y="5231099"/>
            <a:ext cx="273871" cy="273871"/>
          </a:xfrm>
          <a:prstGeom prst="rect">
            <a:avLst/>
          </a:prstGeom>
        </p:spPr>
      </p:pic>
      <p:pic>
        <p:nvPicPr>
          <p:cNvPr id="29" name="Picture 28">
            <a:extLst>
              <a:ext uri="{FF2B5EF4-FFF2-40B4-BE49-F238E27FC236}">
                <a16:creationId xmlns:a16="http://schemas.microsoft.com/office/drawing/2014/main" id="{F343B35B-DFF1-77E8-9D35-B511264E01E5}"/>
              </a:ext>
            </a:extLst>
          </p:cNvPr>
          <p:cNvPicPr>
            <a:picLocks noChangeAspect="1"/>
          </p:cNvPicPr>
          <p:nvPr/>
        </p:nvPicPr>
        <p:blipFill>
          <a:blip r:embed="rId6"/>
          <a:stretch>
            <a:fillRect/>
          </a:stretch>
        </p:blipFill>
        <p:spPr>
          <a:xfrm>
            <a:off x="5976853" y="4702892"/>
            <a:ext cx="273871" cy="273871"/>
          </a:xfrm>
          <a:prstGeom prst="rect">
            <a:avLst/>
          </a:prstGeom>
        </p:spPr>
      </p:pic>
      <p:pic>
        <p:nvPicPr>
          <p:cNvPr id="30" name="Picture 29">
            <a:extLst>
              <a:ext uri="{FF2B5EF4-FFF2-40B4-BE49-F238E27FC236}">
                <a16:creationId xmlns:a16="http://schemas.microsoft.com/office/drawing/2014/main" id="{BDD17B8F-6D65-A32D-1632-A27C97AAD95F}"/>
              </a:ext>
            </a:extLst>
          </p:cNvPr>
          <p:cNvPicPr>
            <a:picLocks noChangeAspect="1"/>
          </p:cNvPicPr>
          <p:nvPr/>
        </p:nvPicPr>
        <p:blipFill>
          <a:blip r:embed="rId6"/>
          <a:stretch>
            <a:fillRect/>
          </a:stretch>
        </p:blipFill>
        <p:spPr>
          <a:xfrm>
            <a:off x="5959062" y="5224658"/>
            <a:ext cx="273871" cy="273871"/>
          </a:xfrm>
          <a:prstGeom prst="rect">
            <a:avLst/>
          </a:prstGeom>
        </p:spPr>
      </p:pic>
      <p:pic>
        <p:nvPicPr>
          <p:cNvPr id="31" name="Picture 30">
            <a:extLst>
              <a:ext uri="{FF2B5EF4-FFF2-40B4-BE49-F238E27FC236}">
                <a16:creationId xmlns:a16="http://schemas.microsoft.com/office/drawing/2014/main" id="{ECEEDCB1-31A6-B99A-443D-631CFE6763BC}"/>
              </a:ext>
            </a:extLst>
          </p:cNvPr>
          <p:cNvPicPr>
            <a:picLocks noChangeAspect="1"/>
          </p:cNvPicPr>
          <p:nvPr/>
        </p:nvPicPr>
        <p:blipFill>
          <a:blip r:embed="rId6"/>
          <a:stretch>
            <a:fillRect/>
          </a:stretch>
        </p:blipFill>
        <p:spPr>
          <a:xfrm>
            <a:off x="7271324" y="4719696"/>
            <a:ext cx="273871" cy="273871"/>
          </a:xfrm>
          <a:prstGeom prst="rect">
            <a:avLst/>
          </a:prstGeom>
        </p:spPr>
      </p:pic>
      <p:pic>
        <p:nvPicPr>
          <p:cNvPr id="32" name="Picture 31">
            <a:extLst>
              <a:ext uri="{FF2B5EF4-FFF2-40B4-BE49-F238E27FC236}">
                <a16:creationId xmlns:a16="http://schemas.microsoft.com/office/drawing/2014/main" id="{39CB2957-1F8D-2E39-CE49-A366CBDA3B38}"/>
              </a:ext>
            </a:extLst>
          </p:cNvPr>
          <p:cNvPicPr>
            <a:picLocks noChangeAspect="1"/>
          </p:cNvPicPr>
          <p:nvPr/>
        </p:nvPicPr>
        <p:blipFill>
          <a:blip r:embed="rId6"/>
          <a:stretch>
            <a:fillRect/>
          </a:stretch>
        </p:blipFill>
        <p:spPr>
          <a:xfrm>
            <a:off x="7255903" y="5235989"/>
            <a:ext cx="273871" cy="273871"/>
          </a:xfrm>
          <a:prstGeom prst="rect">
            <a:avLst/>
          </a:prstGeom>
        </p:spPr>
      </p:pic>
      <p:pic>
        <p:nvPicPr>
          <p:cNvPr id="33" name="Picture 32">
            <a:extLst>
              <a:ext uri="{FF2B5EF4-FFF2-40B4-BE49-F238E27FC236}">
                <a16:creationId xmlns:a16="http://schemas.microsoft.com/office/drawing/2014/main" id="{2179BE6A-6B49-A02C-DFD2-A39161B8B15A}"/>
              </a:ext>
            </a:extLst>
          </p:cNvPr>
          <p:cNvPicPr>
            <a:picLocks noChangeAspect="1"/>
          </p:cNvPicPr>
          <p:nvPr/>
        </p:nvPicPr>
        <p:blipFill>
          <a:blip r:embed="rId6"/>
          <a:stretch>
            <a:fillRect/>
          </a:stretch>
        </p:blipFill>
        <p:spPr>
          <a:xfrm>
            <a:off x="8065268" y="4719695"/>
            <a:ext cx="273871" cy="273871"/>
          </a:xfrm>
          <a:prstGeom prst="rect">
            <a:avLst/>
          </a:prstGeom>
        </p:spPr>
      </p:pic>
      <p:pic>
        <p:nvPicPr>
          <p:cNvPr id="34" name="Picture 33">
            <a:extLst>
              <a:ext uri="{FF2B5EF4-FFF2-40B4-BE49-F238E27FC236}">
                <a16:creationId xmlns:a16="http://schemas.microsoft.com/office/drawing/2014/main" id="{880D84D0-4155-37EA-2EAB-4C55CD0A734F}"/>
              </a:ext>
            </a:extLst>
          </p:cNvPr>
          <p:cNvPicPr>
            <a:picLocks noChangeAspect="1"/>
          </p:cNvPicPr>
          <p:nvPr/>
        </p:nvPicPr>
        <p:blipFill>
          <a:blip r:embed="rId6"/>
          <a:stretch>
            <a:fillRect/>
          </a:stretch>
        </p:blipFill>
        <p:spPr>
          <a:xfrm>
            <a:off x="8550369" y="5224658"/>
            <a:ext cx="273871" cy="273871"/>
          </a:xfrm>
          <a:prstGeom prst="rect">
            <a:avLst/>
          </a:prstGeom>
        </p:spPr>
      </p:pic>
      <p:sp>
        <p:nvSpPr>
          <p:cNvPr id="35" name="TextBox 34">
            <a:extLst>
              <a:ext uri="{FF2B5EF4-FFF2-40B4-BE49-F238E27FC236}">
                <a16:creationId xmlns:a16="http://schemas.microsoft.com/office/drawing/2014/main" id="{ADAB565C-B9AB-63D8-7640-0CC4EBBB8DF2}"/>
              </a:ext>
            </a:extLst>
          </p:cNvPr>
          <p:cNvSpPr txBox="1"/>
          <p:nvPr/>
        </p:nvSpPr>
        <p:spPr>
          <a:xfrm>
            <a:off x="8313508" y="4595022"/>
            <a:ext cx="1094980" cy="523220"/>
          </a:xfrm>
          <a:prstGeom prst="rect">
            <a:avLst/>
          </a:prstGeom>
          <a:noFill/>
        </p:spPr>
        <p:txBody>
          <a:bodyPr wrap="square" rtlCol="0">
            <a:spAutoFit/>
          </a:bodyPr>
          <a:lstStyle/>
          <a:p>
            <a:r>
              <a:rPr lang="en-AU" sz="1400" dirty="0"/>
              <a:t>Temporary ban in Perth</a:t>
            </a:r>
          </a:p>
        </p:txBody>
      </p:sp>
      <p:pic>
        <p:nvPicPr>
          <p:cNvPr id="36" name="Picture 35">
            <a:extLst>
              <a:ext uri="{FF2B5EF4-FFF2-40B4-BE49-F238E27FC236}">
                <a16:creationId xmlns:a16="http://schemas.microsoft.com/office/drawing/2014/main" id="{7C820849-6E9C-546A-82C6-B68510DDEB84}"/>
              </a:ext>
            </a:extLst>
          </p:cNvPr>
          <p:cNvPicPr>
            <a:picLocks noChangeAspect="1"/>
          </p:cNvPicPr>
          <p:nvPr/>
        </p:nvPicPr>
        <p:blipFill>
          <a:blip r:embed="rId6"/>
          <a:stretch>
            <a:fillRect/>
          </a:stretch>
        </p:blipFill>
        <p:spPr>
          <a:xfrm>
            <a:off x="9817169" y="4736798"/>
            <a:ext cx="273871" cy="273871"/>
          </a:xfrm>
          <a:prstGeom prst="rect">
            <a:avLst/>
          </a:prstGeom>
        </p:spPr>
      </p:pic>
      <p:pic>
        <p:nvPicPr>
          <p:cNvPr id="37" name="Picture 36">
            <a:extLst>
              <a:ext uri="{FF2B5EF4-FFF2-40B4-BE49-F238E27FC236}">
                <a16:creationId xmlns:a16="http://schemas.microsoft.com/office/drawing/2014/main" id="{C60EBE90-3337-D6D1-2B01-9F6280945666}"/>
              </a:ext>
            </a:extLst>
          </p:cNvPr>
          <p:cNvPicPr>
            <a:picLocks noChangeAspect="1"/>
          </p:cNvPicPr>
          <p:nvPr/>
        </p:nvPicPr>
        <p:blipFill>
          <a:blip r:embed="rId6"/>
          <a:stretch>
            <a:fillRect/>
          </a:stretch>
        </p:blipFill>
        <p:spPr>
          <a:xfrm>
            <a:off x="11076713" y="4702891"/>
            <a:ext cx="273871" cy="273871"/>
          </a:xfrm>
          <a:prstGeom prst="rect">
            <a:avLst/>
          </a:prstGeom>
        </p:spPr>
      </p:pic>
      <p:pic>
        <p:nvPicPr>
          <p:cNvPr id="38" name="Picture 37">
            <a:extLst>
              <a:ext uri="{FF2B5EF4-FFF2-40B4-BE49-F238E27FC236}">
                <a16:creationId xmlns:a16="http://schemas.microsoft.com/office/drawing/2014/main" id="{B5CD468C-025D-B174-D663-FF454A046ED3}"/>
              </a:ext>
            </a:extLst>
          </p:cNvPr>
          <p:cNvPicPr>
            <a:picLocks noChangeAspect="1"/>
          </p:cNvPicPr>
          <p:nvPr/>
        </p:nvPicPr>
        <p:blipFill>
          <a:blip r:embed="rId6"/>
          <a:stretch>
            <a:fillRect/>
          </a:stretch>
        </p:blipFill>
        <p:spPr>
          <a:xfrm>
            <a:off x="11076713" y="5235415"/>
            <a:ext cx="273871" cy="273871"/>
          </a:xfrm>
          <a:prstGeom prst="rect">
            <a:avLst/>
          </a:prstGeom>
        </p:spPr>
      </p:pic>
      <p:pic>
        <p:nvPicPr>
          <p:cNvPr id="39" name="Picture 38">
            <a:extLst>
              <a:ext uri="{FF2B5EF4-FFF2-40B4-BE49-F238E27FC236}">
                <a16:creationId xmlns:a16="http://schemas.microsoft.com/office/drawing/2014/main" id="{76BD1655-9D85-B338-40B7-F1DAA38A6003}"/>
              </a:ext>
            </a:extLst>
          </p:cNvPr>
          <p:cNvPicPr>
            <a:picLocks noChangeAspect="1"/>
          </p:cNvPicPr>
          <p:nvPr/>
        </p:nvPicPr>
        <p:blipFill>
          <a:blip r:embed="rId7"/>
          <a:stretch>
            <a:fillRect/>
          </a:stretch>
        </p:blipFill>
        <p:spPr>
          <a:xfrm>
            <a:off x="2183024" y="5245983"/>
            <a:ext cx="273871" cy="273871"/>
          </a:xfrm>
          <a:prstGeom prst="rect">
            <a:avLst/>
          </a:prstGeom>
        </p:spPr>
      </p:pic>
      <p:pic>
        <p:nvPicPr>
          <p:cNvPr id="40" name="Picture 39">
            <a:extLst>
              <a:ext uri="{FF2B5EF4-FFF2-40B4-BE49-F238E27FC236}">
                <a16:creationId xmlns:a16="http://schemas.microsoft.com/office/drawing/2014/main" id="{CA770DCF-A3E8-F914-CEFD-A3CA8473993A}"/>
              </a:ext>
            </a:extLst>
          </p:cNvPr>
          <p:cNvPicPr>
            <a:picLocks noChangeAspect="1"/>
          </p:cNvPicPr>
          <p:nvPr/>
        </p:nvPicPr>
        <p:blipFill>
          <a:blip r:embed="rId7"/>
          <a:stretch>
            <a:fillRect/>
          </a:stretch>
        </p:blipFill>
        <p:spPr>
          <a:xfrm>
            <a:off x="9813541" y="5231098"/>
            <a:ext cx="273871" cy="273871"/>
          </a:xfrm>
          <a:prstGeom prst="rect">
            <a:avLst/>
          </a:prstGeom>
        </p:spPr>
      </p:pic>
      <p:cxnSp>
        <p:nvCxnSpPr>
          <p:cNvPr id="42" name="Straight Connector 41">
            <a:extLst>
              <a:ext uri="{FF2B5EF4-FFF2-40B4-BE49-F238E27FC236}">
                <a16:creationId xmlns:a16="http://schemas.microsoft.com/office/drawing/2014/main" id="{5E8614E6-9C08-1E2C-3A02-5C4BEF444D28}"/>
              </a:ext>
            </a:extLst>
          </p:cNvPr>
          <p:cNvCxnSpPr/>
          <p:nvPr/>
        </p:nvCxnSpPr>
        <p:spPr>
          <a:xfrm>
            <a:off x="4746259" y="1600381"/>
            <a:ext cx="0" cy="1763914"/>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1133BE9-6BBA-FADA-C118-618A78182B31}"/>
              </a:ext>
            </a:extLst>
          </p:cNvPr>
          <p:cNvCxnSpPr/>
          <p:nvPr/>
        </p:nvCxnSpPr>
        <p:spPr>
          <a:xfrm>
            <a:off x="7455289" y="1638608"/>
            <a:ext cx="0" cy="176391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19997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EBB048D-2197-7954-FBB6-FED924DEBAF2}"/>
              </a:ext>
            </a:extLst>
          </p:cNvPr>
          <p:cNvSpPr/>
          <p:nvPr/>
        </p:nvSpPr>
        <p:spPr>
          <a:xfrm>
            <a:off x="326847" y="2390568"/>
            <a:ext cx="6451025" cy="30675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6CCDAE2F-A1BB-6AAF-FC47-BC5953CAD924}"/>
              </a:ext>
            </a:extLst>
          </p:cNvPr>
          <p:cNvSpPr>
            <a:spLocks noGrp="1"/>
          </p:cNvSpPr>
          <p:nvPr>
            <p:ph type="title"/>
          </p:nvPr>
        </p:nvSpPr>
        <p:spPr/>
        <p:txBody>
          <a:bodyPr/>
          <a:lstStyle/>
          <a:p>
            <a:r>
              <a:rPr lang="en-AU" dirty="0"/>
              <a:t>The policy problem</a:t>
            </a:r>
          </a:p>
        </p:txBody>
      </p:sp>
      <p:sp>
        <p:nvSpPr>
          <p:cNvPr id="3" name="Content Placeholder 2">
            <a:extLst>
              <a:ext uri="{FF2B5EF4-FFF2-40B4-BE49-F238E27FC236}">
                <a16:creationId xmlns:a16="http://schemas.microsoft.com/office/drawing/2014/main" id="{53E5B2C5-1AA4-8D57-59C1-8F8255C50B43}"/>
              </a:ext>
            </a:extLst>
          </p:cNvPr>
          <p:cNvSpPr>
            <a:spLocks noGrp="1"/>
          </p:cNvSpPr>
          <p:nvPr>
            <p:ph idx="1"/>
          </p:nvPr>
        </p:nvSpPr>
        <p:spPr>
          <a:xfrm>
            <a:off x="987867" y="2743477"/>
            <a:ext cx="5481945" cy="2636505"/>
          </a:xfrm>
        </p:spPr>
        <p:txBody>
          <a:bodyPr/>
          <a:lstStyle/>
          <a:p>
            <a:r>
              <a:rPr lang="en-AU" sz="1600" dirty="0">
                <a:solidFill>
                  <a:schemeClr val="tx1"/>
                </a:solidFill>
              </a:rPr>
              <a:t>Rapid uptake of </a:t>
            </a:r>
            <a:r>
              <a:rPr lang="en-AU" sz="1600" dirty="0" err="1">
                <a:solidFill>
                  <a:schemeClr val="tx1"/>
                </a:solidFill>
              </a:rPr>
              <a:t>e-micromobility</a:t>
            </a:r>
            <a:r>
              <a:rPr lang="en-AU" sz="1600" dirty="0">
                <a:solidFill>
                  <a:schemeClr val="tx1"/>
                </a:solidFill>
              </a:rPr>
              <a:t> devices</a:t>
            </a:r>
          </a:p>
          <a:p>
            <a:r>
              <a:rPr lang="en-AU" sz="1600" dirty="0">
                <a:solidFill>
                  <a:schemeClr val="tx1"/>
                </a:solidFill>
              </a:rPr>
              <a:t>Uptake outpacing regulation ad insurance frameworks</a:t>
            </a:r>
          </a:p>
          <a:p>
            <a:r>
              <a:rPr lang="en-AU" sz="1600" dirty="0">
                <a:solidFill>
                  <a:schemeClr val="tx1"/>
                </a:solidFill>
              </a:rPr>
              <a:t>Emerging evidence of different injury profiles</a:t>
            </a:r>
          </a:p>
          <a:p>
            <a:r>
              <a:rPr lang="en-AU" sz="1600" dirty="0">
                <a:solidFill>
                  <a:schemeClr val="tx1"/>
                </a:solidFill>
              </a:rPr>
              <a:t>Potential cost implications to the NSW CTP Scheme</a:t>
            </a:r>
          </a:p>
          <a:p>
            <a:r>
              <a:rPr lang="en-AU" sz="1600" dirty="0">
                <a:solidFill>
                  <a:schemeClr val="tx1"/>
                </a:solidFill>
              </a:rPr>
              <a:t>Need for robust evidence to inform government decisions</a:t>
            </a:r>
          </a:p>
          <a:p>
            <a:endParaRPr lang="en-AU" sz="1600" dirty="0">
              <a:solidFill>
                <a:schemeClr val="tx1"/>
              </a:solidFill>
            </a:endParaRPr>
          </a:p>
        </p:txBody>
      </p:sp>
      <p:sp>
        <p:nvSpPr>
          <p:cNvPr id="4" name="Slide Number Placeholder 3">
            <a:extLst>
              <a:ext uri="{FF2B5EF4-FFF2-40B4-BE49-F238E27FC236}">
                <a16:creationId xmlns:a16="http://schemas.microsoft.com/office/drawing/2014/main" id="{FA0F666E-57DC-CD27-C353-B9D77C52FD97}"/>
              </a:ext>
            </a:extLst>
          </p:cNvPr>
          <p:cNvSpPr>
            <a:spLocks noGrp="1"/>
          </p:cNvSpPr>
          <p:nvPr>
            <p:ph type="sldNum" sz="quarter" idx="12"/>
          </p:nvPr>
        </p:nvSpPr>
        <p:spPr/>
        <p:txBody>
          <a:bodyPr/>
          <a:lstStyle/>
          <a:p>
            <a:fld id="{741AFF56-1126-4107-9C02-BC0EFBF16431}" type="slidenum">
              <a:rPr lang="en-GB" smtClean="0"/>
              <a:pPr/>
              <a:t>5</a:t>
            </a:fld>
            <a:endParaRPr lang="en-GB" dirty="0"/>
          </a:p>
        </p:txBody>
      </p:sp>
      <p:pic>
        <p:nvPicPr>
          <p:cNvPr id="5" name="Picture 4">
            <a:extLst>
              <a:ext uri="{FF2B5EF4-FFF2-40B4-BE49-F238E27FC236}">
                <a16:creationId xmlns:a16="http://schemas.microsoft.com/office/drawing/2014/main" id="{CDCA622B-2134-EA82-EB9F-322AAB56B2D0}"/>
              </a:ext>
            </a:extLst>
          </p:cNvPr>
          <p:cNvPicPr>
            <a:picLocks noChangeAspect="1"/>
          </p:cNvPicPr>
          <p:nvPr/>
        </p:nvPicPr>
        <p:blipFill>
          <a:blip r:embed="rId3">
            <a:duotone>
              <a:schemeClr val="accent1">
                <a:shade val="45000"/>
                <a:satMod val="135000"/>
              </a:schemeClr>
              <a:prstClr val="white"/>
            </a:duotone>
          </a:blip>
          <a:stretch>
            <a:fillRect/>
          </a:stretch>
        </p:blipFill>
        <p:spPr>
          <a:xfrm>
            <a:off x="489692" y="2640276"/>
            <a:ext cx="350822" cy="350822"/>
          </a:xfrm>
          <a:prstGeom prst="rect">
            <a:avLst/>
          </a:prstGeom>
        </p:spPr>
      </p:pic>
      <p:pic>
        <p:nvPicPr>
          <p:cNvPr id="6" name="Picture 5">
            <a:extLst>
              <a:ext uri="{FF2B5EF4-FFF2-40B4-BE49-F238E27FC236}">
                <a16:creationId xmlns:a16="http://schemas.microsoft.com/office/drawing/2014/main" id="{BD0629A2-43D1-B37A-B23F-AF298E5D82EA}"/>
              </a:ext>
            </a:extLst>
          </p:cNvPr>
          <p:cNvPicPr>
            <a:picLocks noChangeAspect="1"/>
          </p:cNvPicPr>
          <p:nvPr/>
        </p:nvPicPr>
        <p:blipFill>
          <a:blip r:embed="rId4">
            <a:duotone>
              <a:schemeClr val="accent1">
                <a:shade val="45000"/>
                <a:satMod val="135000"/>
              </a:schemeClr>
              <a:prstClr val="white"/>
            </a:duotone>
          </a:blip>
          <a:stretch>
            <a:fillRect/>
          </a:stretch>
        </p:blipFill>
        <p:spPr>
          <a:xfrm>
            <a:off x="489693" y="3191629"/>
            <a:ext cx="350821" cy="350821"/>
          </a:xfrm>
          <a:prstGeom prst="rect">
            <a:avLst/>
          </a:prstGeom>
        </p:spPr>
      </p:pic>
      <p:pic>
        <p:nvPicPr>
          <p:cNvPr id="7" name="Picture 6">
            <a:extLst>
              <a:ext uri="{FF2B5EF4-FFF2-40B4-BE49-F238E27FC236}">
                <a16:creationId xmlns:a16="http://schemas.microsoft.com/office/drawing/2014/main" id="{B904A835-0053-E90F-6A96-BD91825E82D8}"/>
              </a:ext>
            </a:extLst>
          </p:cNvPr>
          <p:cNvPicPr>
            <a:picLocks noChangeAspect="1"/>
          </p:cNvPicPr>
          <p:nvPr/>
        </p:nvPicPr>
        <p:blipFill>
          <a:blip r:embed="rId5">
            <a:duotone>
              <a:schemeClr val="accent1">
                <a:shade val="45000"/>
                <a:satMod val="135000"/>
              </a:schemeClr>
              <a:prstClr val="white"/>
            </a:duotone>
          </a:blip>
          <a:stretch>
            <a:fillRect/>
          </a:stretch>
        </p:blipFill>
        <p:spPr>
          <a:xfrm>
            <a:off x="489693" y="3738425"/>
            <a:ext cx="350821" cy="350821"/>
          </a:xfrm>
          <a:prstGeom prst="rect">
            <a:avLst/>
          </a:prstGeom>
        </p:spPr>
      </p:pic>
      <p:pic>
        <p:nvPicPr>
          <p:cNvPr id="8" name="Picture 7">
            <a:extLst>
              <a:ext uri="{FF2B5EF4-FFF2-40B4-BE49-F238E27FC236}">
                <a16:creationId xmlns:a16="http://schemas.microsoft.com/office/drawing/2014/main" id="{EC8EA21F-2FBD-7700-15A6-95C174C66E9D}"/>
              </a:ext>
            </a:extLst>
          </p:cNvPr>
          <p:cNvPicPr>
            <a:picLocks noChangeAspect="1"/>
          </p:cNvPicPr>
          <p:nvPr/>
        </p:nvPicPr>
        <p:blipFill>
          <a:blip r:embed="rId6">
            <a:duotone>
              <a:schemeClr val="accent1">
                <a:shade val="45000"/>
                <a:satMod val="135000"/>
              </a:schemeClr>
              <a:prstClr val="white"/>
            </a:duotone>
          </a:blip>
          <a:stretch>
            <a:fillRect/>
          </a:stretch>
        </p:blipFill>
        <p:spPr>
          <a:xfrm>
            <a:off x="487174" y="4330117"/>
            <a:ext cx="350821" cy="350821"/>
          </a:xfrm>
          <a:prstGeom prst="rect">
            <a:avLst/>
          </a:prstGeom>
        </p:spPr>
      </p:pic>
      <p:pic>
        <p:nvPicPr>
          <p:cNvPr id="9" name="Picture 8">
            <a:extLst>
              <a:ext uri="{FF2B5EF4-FFF2-40B4-BE49-F238E27FC236}">
                <a16:creationId xmlns:a16="http://schemas.microsoft.com/office/drawing/2014/main" id="{D85842C5-F5D5-66E1-F0B3-F3A03AE92568}"/>
              </a:ext>
            </a:extLst>
          </p:cNvPr>
          <p:cNvPicPr>
            <a:picLocks noChangeAspect="1"/>
          </p:cNvPicPr>
          <p:nvPr/>
        </p:nvPicPr>
        <p:blipFill>
          <a:blip r:embed="rId7">
            <a:duotone>
              <a:schemeClr val="accent1">
                <a:shade val="45000"/>
                <a:satMod val="135000"/>
              </a:schemeClr>
              <a:prstClr val="white"/>
            </a:duotone>
          </a:blip>
          <a:stretch>
            <a:fillRect/>
          </a:stretch>
        </p:blipFill>
        <p:spPr>
          <a:xfrm>
            <a:off x="481946" y="4911322"/>
            <a:ext cx="350822" cy="350822"/>
          </a:xfrm>
          <a:prstGeom prst="rect">
            <a:avLst/>
          </a:prstGeom>
        </p:spPr>
      </p:pic>
      <p:sp>
        <p:nvSpPr>
          <p:cNvPr id="11" name="Content Placeholder 2">
            <a:extLst>
              <a:ext uri="{FF2B5EF4-FFF2-40B4-BE49-F238E27FC236}">
                <a16:creationId xmlns:a16="http://schemas.microsoft.com/office/drawing/2014/main" id="{A30824CE-97A2-33EA-E37C-B72A0029479A}"/>
              </a:ext>
            </a:extLst>
          </p:cNvPr>
          <p:cNvSpPr txBox="1">
            <a:spLocks/>
          </p:cNvSpPr>
          <p:nvPr/>
        </p:nvSpPr>
        <p:spPr>
          <a:xfrm>
            <a:off x="6640195" y="1558423"/>
            <a:ext cx="5077323" cy="425633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1800"/>
              </a:spcBef>
              <a:spcAft>
                <a:spcPts val="600"/>
              </a:spcAft>
              <a:buFont typeface="Arial" panose="020B0604020202020204" pitchFamily="34" charset="0"/>
              <a:buNone/>
              <a:defRPr sz="1400" kern="1200">
                <a:solidFill>
                  <a:schemeClr val="accent3"/>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1400" kern="1200">
                <a:solidFill>
                  <a:schemeClr val="accent3"/>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AU" sz="1600" dirty="0">
              <a:solidFill>
                <a:schemeClr val="tx1"/>
              </a:solidFill>
            </a:endParaRPr>
          </a:p>
        </p:txBody>
      </p:sp>
      <p:sp>
        <p:nvSpPr>
          <p:cNvPr id="12" name="Rectangle 11">
            <a:extLst>
              <a:ext uri="{FF2B5EF4-FFF2-40B4-BE49-F238E27FC236}">
                <a16:creationId xmlns:a16="http://schemas.microsoft.com/office/drawing/2014/main" id="{1FC07266-D35D-3DE0-B241-F1F0D2623479}"/>
              </a:ext>
            </a:extLst>
          </p:cNvPr>
          <p:cNvSpPr/>
          <p:nvPr/>
        </p:nvSpPr>
        <p:spPr>
          <a:xfrm>
            <a:off x="6998329" y="2390568"/>
            <a:ext cx="4866824" cy="306755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13" name="Rectangle 12">
            <a:extLst>
              <a:ext uri="{FF2B5EF4-FFF2-40B4-BE49-F238E27FC236}">
                <a16:creationId xmlns:a16="http://schemas.microsoft.com/office/drawing/2014/main" id="{88C1F5C9-91B7-BF4F-FF9C-01ED63F7643A}"/>
              </a:ext>
            </a:extLst>
          </p:cNvPr>
          <p:cNvSpPr/>
          <p:nvPr/>
        </p:nvSpPr>
        <p:spPr>
          <a:xfrm>
            <a:off x="2392862" y="2082362"/>
            <a:ext cx="2318994" cy="452487"/>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solidFill>
                  <a:schemeClr val="tx1"/>
                </a:solidFill>
              </a:rPr>
              <a:t>Key policy issues</a:t>
            </a:r>
          </a:p>
        </p:txBody>
      </p:sp>
      <p:sp>
        <p:nvSpPr>
          <p:cNvPr id="14" name="Rectangle 13">
            <a:extLst>
              <a:ext uri="{FF2B5EF4-FFF2-40B4-BE49-F238E27FC236}">
                <a16:creationId xmlns:a16="http://schemas.microsoft.com/office/drawing/2014/main" id="{21DF7E9E-02D3-C4C2-3AB0-7632863E62C9}"/>
              </a:ext>
            </a:extLst>
          </p:cNvPr>
          <p:cNvSpPr/>
          <p:nvPr/>
        </p:nvSpPr>
        <p:spPr>
          <a:xfrm>
            <a:off x="8272244" y="2082362"/>
            <a:ext cx="2318994" cy="452487"/>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solidFill>
                  <a:schemeClr val="tx1"/>
                </a:solidFill>
              </a:rPr>
              <a:t>Key policy gaps</a:t>
            </a:r>
          </a:p>
        </p:txBody>
      </p:sp>
      <p:sp>
        <p:nvSpPr>
          <p:cNvPr id="15" name="Content Placeholder 2">
            <a:extLst>
              <a:ext uri="{FF2B5EF4-FFF2-40B4-BE49-F238E27FC236}">
                <a16:creationId xmlns:a16="http://schemas.microsoft.com/office/drawing/2014/main" id="{028C13C1-7E73-0BA2-72C8-B7EB05849D3E}"/>
              </a:ext>
            </a:extLst>
          </p:cNvPr>
          <p:cNvSpPr txBox="1">
            <a:spLocks/>
          </p:cNvSpPr>
          <p:nvPr/>
        </p:nvSpPr>
        <p:spPr>
          <a:xfrm>
            <a:off x="7654871" y="2735803"/>
            <a:ext cx="2635865" cy="160692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1800"/>
              </a:spcBef>
              <a:spcAft>
                <a:spcPts val="600"/>
              </a:spcAft>
              <a:buFont typeface="Arial" panose="020B0604020202020204" pitchFamily="34" charset="0"/>
              <a:buNone/>
              <a:defRPr sz="1400" kern="1200">
                <a:solidFill>
                  <a:schemeClr val="accent3"/>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1400" kern="1200">
                <a:solidFill>
                  <a:schemeClr val="accent3"/>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1600" dirty="0">
                <a:solidFill>
                  <a:schemeClr val="tx1"/>
                </a:solidFill>
              </a:rPr>
              <a:t>CTP coverage</a:t>
            </a:r>
          </a:p>
          <a:p>
            <a:r>
              <a:rPr lang="en-AU" sz="1600" dirty="0">
                <a:solidFill>
                  <a:schemeClr val="tx1"/>
                </a:solidFill>
              </a:rPr>
              <a:t>Equity</a:t>
            </a:r>
          </a:p>
        </p:txBody>
      </p:sp>
      <p:pic>
        <p:nvPicPr>
          <p:cNvPr id="17" name="Picture 16">
            <a:extLst>
              <a:ext uri="{FF2B5EF4-FFF2-40B4-BE49-F238E27FC236}">
                <a16:creationId xmlns:a16="http://schemas.microsoft.com/office/drawing/2014/main" id="{F239E783-36AA-7B12-4D38-420C19CA5B82}"/>
              </a:ext>
            </a:extLst>
          </p:cNvPr>
          <p:cNvPicPr>
            <a:picLocks noChangeAspect="1"/>
          </p:cNvPicPr>
          <p:nvPr/>
        </p:nvPicPr>
        <p:blipFill>
          <a:blip r:embed="rId8">
            <a:duotone>
              <a:schemeClr val="accent1">
                <a:shade val="45000"/>
                <a:satMod val="135000"/>
              </a:schemeClr>
              <a:prstClr val="white"/>
            </a:duotone>
          </a:blip>
          <a:stretch>
            <a:fillRect/>
          </a:stretch>
        </p:blipFill>
        <p:spPr>
          <a:xfrm>
            <a:off x="7153862" y="2640276"/>
            <a:ext cx="350823" cy="350823"/>
          </a:xfrm>
          <a:prstGeom prst="rect">
            <a:avLst/>
          </a:prstGeom>
        </p:spPr>
      </p:pic>
      <p:pic>
        <p:nvPicPr>
          <p:cNvPr id="19" name="Picture 18">
            <a:extLst>
              <a:ext uri="{FF2B5EF4-FFF2-40B4-BE49-F238E27FC236}">
                <a16:creationId xmlns:a16="http://schemas.microsoft.com/office/drawing/2014/main" id="{869224B8-CCF2-7DFF-4801-FEAFBE3651EA}"/>
              </a:ext>
            </a:extLst>
          </p:cNvPr>
          <p:cNvPicPr>
            <a:picLocks noChangeAspect="1"/>
          </p:cNvPicPr>
          <p:nvPr/>
        </p:nvPicPr>
        <p:blipFill>
          <a:blip r:embed="rId9">
            <a:duotone>
              <a:schemeClr val="accent1">
                <a:shade val="45000"/>
                <a:satMod val="135000"/>
              </a:schemeClr>
              <a:prstClr val="white"/>
            </a:duotone>
          </a:blip>
          <a:stretch>
            <a:fillRect/>
          </a:stretch>
        </p:blipFill>
        <p:spPr>
          <a:xfrm>
            <a:off x="7151188" y="3191629"/>
            <a:ext cx="356170" cy="356170"/>
          </a:xfrm>
          <a:prstGeom prst="rect">
            <a:avLst/>
          </a:prstGeom>
        </p:spPr>
      </p:pic>
    </p:spTree>
    <p:extLst>
      <p:ext uri="{BB962C8B-B14F-4D97-AF65-F5344CB8AC3E}">
        <p14:creationId xmlns:p14="http://schemas.microsoft.com/office/powerpoint/2010/main" val="38368468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9B3B8D-1B65-E5FA-8EF4-49622B5C73F1}"/>
              </a:ext>
            </a:extLst>
          </p:cNvPr>
          <p:cNvSpPr>
            <a:spLocks noGrp="1"/>
          </p:cNvSpPr>
          <p:nvPr>
            <p:ph type="title"/>
          </p:nvPr>
        </p:nvSpPr>
        <p:spPr/>
        <p:txBody>
          <a:bodyPr/>
          <a:lstStyle/>
          <a:p>
            <a:r>
              <a:rPr lang="en-AU" dirty="0"/>
              <a:t>How things have progressed</a:t>
            </a:r>
          </a:p>
        </p:txBody>
      </p:sp>
      <p:sp>
        <p:nvSpPr>
          <p:cNvPr id="3" name="Content Placeholder 2">
            <a:extLst>
              <a:ext uri="{FF2B5EF4-FFF2-40B4-BE49-F238E27FC236}">
                <a16:creationId xmlns:a16="http://schemas.microsoft.com/office/drawing/2014/main" id="{A29CB0C3-4CF3-C1B3-B6C2-F057EEA86AD0}"/>
              </a:ext>
            </a:extLst>
          </p:cNvPr>
          <p:cNvSpPr>
            <a:spLocks noGrp="1"/>
          </p:cNvSpPr>
          <p:nvPr>
            <p:ph idx="1"/>
          </p:nvPr>
        </p:nvSpPr>
        <p:spPr>
          <a:xfrm>
            <a:off x="1071516" y="2602528"/>
            <a:ext cx="4300995" cy="2163409"/>
          </a:xfrm>
        </p:spPr>
        <p:txBody>
          <a:bodyPr/>
          <a:lstStyle/>
          <a:p>
            <a:r>
              <a:rPr lang="en-AU" sz="1600" b="1" dirty="0">
                <a:solidFill>
                  <a:schemeClr val="tx1"/>
                </a:solidFill>
              </a:rPr>
              <a:t>Parliamentary inquiry into </a:t>
            </a:r>
            <a:r>
              <a:rPr lang="en-AU" sz="1600" b="1" dirty="0" err="1">
                <a:solidFill>
                  <a:schemeClr val="tx1"/>
                </a:solidFill>
              </a:rPr>
              <a:t>e-micromobility</a:t>
            </a:r>
            <a:r>
              <a:rPr lang="en-AU" sz="1600" b="1" dirty="0">
                <a:solidFill>
                  <a:schemeClr val="tx1"/>
                </a:solidFill>
              </a:rPr>
              <a:t> established 6 June 2024</a:t>
            </a:r>
          </a:p>
          <a:p>
            <a:pPr marL="285750" indent="-285750">
              <a:buFont typeface="Arial" panose="020B0604020202020204" pitchFamily="34" charset="0"/>
              <a:buChar char="•"/>
            </a:pPr>
            <a:r>
              <a:rPr lang="en-AU" sz="1600" dirty="0">
                <a:solidFill>
                  <a:schemeClr val="tx1"/>
                </a:solidFill>
              </a:rPr>
              <a:t>Committee did not consider that the Compulsory Third Party Scheme could or should be extended, especially in the absence of licensing and registration</a:t>
            </a:r>
          </a:p>
          <a:p>
            <a:pPr marL="285750" indent="-285750">
              <a:buFont typeface="Arial" panose="020B0604020202020204" pitchFamily="34" charset="0"/>
              <a:buChar char="•"/>
            </a:pPr>
            <a:r>
              <a:rPr lang="en-AU" sz="1600" dirty="0">
                <a:solidFill>
                  <a:schemeClr val="tx1"/>
                </a:solidFill>
              </a:rPr>
              <a:t>NSW Government committed to exploring options for </a:t>
            </a:r>
            <a:r>
              <a:rPr lang="en-AU" sz="1600" dirty="0" err="1">
                <a:solidFill>
                  <a:schemeClr val="tx1"/>
                </a:solidFill>
              </a:rPr>
              <a:t>e-micromobility</a:t>
            </a:r>
            <a:r>
              <a:rPr lang="en-AU" sz="1600" dirty="0">
                <a:solidFill>
                  <a:schemeClr val="tx1"/>
                </a:solidFill>
              </a:rPr>
              <a:t> insurance</a:t>
            </a:r>
          </a:p>
          <a:p>
            <a:endParaRPr lang="en-AU" sz="1600" dirty="0">
              <a:solidFill>
                <a:schemeClr val="tx1"/>
              </a:solidFill>
            </a:endParaRPr>
          </a:p>
        </p:txBody>
      </p:sp>
      <p:sp>
        <p:nvSpPr>
          <p:cNvPr id="4" name="Slide Number Placeholder 3">
            <a:extLst>
              <a:ext uri="{FF2B5EF4-FFF2-40B4-BE49-F238E27FC236}">
                <a16:creationId xmlns:a16="http://schemas.microsoft.com/office/drawing/2014/main" id="{1336790A-9A5C-C292-C84C-270ED34E38E8}"/>
              </a:ext>
            </a:extLst>
          </p:cNvPr>
          <p:cNvSpPr>
            <a:spLocks noGrp="1"/>
          </p:cNvSpPr>
          <p:nvPr>
            <p:ph type="sldNum" sz="quarter" idx="12"/>
          </p:nvPr>
        </p:nvSpPr>
        <p:spPr/>
        <p:txBody>
          <a:bodyPr/>
          <a:lstStyle/>
          <a:p>
            <a:fld id="{741AFF56-1126-4107-9C02-BC0EFBF16431}" type="slidenum">
              <a:rPr lang="en-GB" smtClean="0"/>
              <a:pPr/>
              <a:t>6</a:t>
            </a:fld>
            <a:endParaRPr lang="en-GB" dirty="0"/>
          </a:p>
        </p:txBody>
      </p:sp>
      <p:sp>
        <p:nvSpPr>
          <p:cNvPr id="5" name="Content Placeholder 4">
            <a:extLst>
              <a:ext uri="{FF2B5EF4-FFF2-40B4-BE49-F238E27FC236}">
                <a16:creationId xmlns:a16="http://schemas.microsoft.com/office/drawing/2014/main" id="{B4059D2F-FBD8-46B5-CB82-5224E2602490}"/>
              </a:ext>
            </a:extLst>
          </p:cNvPr>
          <p:cNvSpPr>
            <a:spLocks noGrp="1"/>
          </p:cNvSpPr>
          <p:nvPr>
            <p:ph idx="13"/>
          </p:nvPr>
        </p:nvSpPr>
        <p:spPr>
          <a:xfrm>
            <a:off x="6819489" y="2602528"/>
            <a:ext cx="4300995" cy="2163409"/>
          </a:xfrm>
        </p:spPr>
        <p:txBody>
          <a:bodyPr/>
          <a:lstStyle/>
          <a:p>
            <a:r>
              <a:rPr lang="en-AU" sz="1600" b="1" dirty="0">
                <a:solidFill>
                  <a:schemeClr val="tx1"/>
                </a:solidFill>
              </a:rPr>
              <a:t>Road Transport and Other Legislation Amendment (Micromobility Vehicles and Smartcards) Bill 2025 </a:t>
            </a:r>
          </a:p>
          <a:p>
            <a:pPr marL="285750" indent="-285750">
              <a:buFont typeface="Arial" panose="020B0604020202020204" pitchFamily="34" charset="0"/>
              <a:buChar char="•"/>
            </a:pPr>
            <a:r>
              <a:rPr lang="en-AU" sz="1600" dirty="0">
                <a:solidFill>
                  <a:schemeClr val="tx1"/>
                </a:solidFill>
              </a:rPr>
              <a:t>Introduced to NSW Parliament October 2025</a:t>
            </a:r>
          </a:p>
          <a:p>
            <a:pPr marL="285750" indent="-285750">
              <a:buFont typeface="Arial" panose="020B0604020202020204" pitchFamily="34" charset="0"/>
              <a:buChar char="•"/>
            </a:pPr>
            <a:r>
              <a:rPr lang="en-AU" sz="1600" dirty="0">
                <a:solidFill>
                  <a:schemeClr val="tx1"/>
                </a:solidFill>
              </a:rPr>
              <a:t>Includes proposed amendments to the </a:t>
            </a:r>
            <a:r>
              <a:rPr lang="en-AU" sz="1600" i="1" dirty="0">
                <a:solidFill>
                  <a:schemeClr val="tx1"/>
                </a:solidFill>
              </a:rPr>
              <a:t>Motor Accidents Injuries Act 2017 </a:t>
            </a:r>
            <a:r>
              <a:rPr lang="en-AU" sz="1600" dirty="0">
                <a:solidFill>
                  <a:schemeClr val="tx1"/>
                </a:solidFill>
              </a:rPr>
              <a:t>to clarify that crashes involving only </a:t>
            </a:r>
            <a:r>
              <a:rPr lang="en-AU" sz="1600" dirty="0" err="1">
                <a:solidFill>
                  <a:schemeClr val="tx1"/>
                </a:solidFill>
              </a:rPr>
              <a:t>e-micromobility</a:t>
            </a:r>
            <a:r>
              <a:rPr lang="en-AU" sz="1600" dirty="0">
                <a:solidFill>
                  <a:schemeClr val="tx1"/>
                </a:solidFill>
              </a:rPr>
              <a:t> devices are not covered by the Act</a:t>
            </a:r>
          </a:p>
          <a:p>
            <a:endParaRPr lang="en-AU" sz="1600" dirty="0">
              <a:solidFill>
                <a:schemeClr val="tx1"/>
              </a:solidFill>
            </a:endParaRPr>
          </a:p>
        </p:txBody>
      </p:sp>
      <p:pic>
        <p:nvPicPr>
          <p:cNvPr id="6" name="Picture 5">
            <a:extLst>
              <a:ext uri="{FF2B5EF4-FFF2-40B4-BE49-F238E27FC236}">
                <a16:creationId xmlns:a16="http://schemas.microsoft.com/office/drawing/2014/main" id="{D139E62C-6ECA-36E4-F15B-9DF460AF8188}"/>
              </a:ext>
            </a:extLst>
          </p:cNvPr>
          <p:cNvPicPr>
            <a:picLocks noChangeAspect="1"/>
          </p:cNvPicPr>
          <p:nvPr/>
        </p:nvPicPr>
        <p:blipFill>
          <a:blip r:embed="rId3">
            <a:duotone>
              <a:schemeClr val="accent1">
                <a:shade val="45000"/>
                <a:satMod val="135000"/>
              </a:schemeClr>
              <a:prstClr val="white"/>
            </a:duotone>
          </a:blip>
          <a:stretch>
            <a:fillRect/>
          </a:stretch>
        </p:blipFill>
        <p:spPr>
          <a:xfrm>
            <a:off x="2789596" y="1629259"/>
            <a:ext cx="864833" cy="864833"/>
          </a:xfrm>
          <a:prstGeom prst="rect">
            <a:avLst/>
          </a:prstGeom>
        </p:spPr>
      </p:pic>
      <p:pic>
        <p:nvPicPr>
          <p:cNvPr id="7" name="Picture 6">
            <a:extLst>
              <a:ext uri="{FF2B5EF4-FFF2-40B4-BE49-F238E27FC236}">
                <a16:creationId xmlns:a16="http://schemas.microsoft.com/office/drawing/2014/main" id="{6890F211-BE5E-A60B-5689-776AC1105B94}"/>
              </a:ext>
            </a:extLst>
          </p:cNvPr>
          <p:cNvPicPr>
            <a:picLocks noChangeAspect="1"/>
          </p:cNvPicPr>
          <p:nvPr/>
        </p:nvPicPr>
        <p:blipFill>
          <a:blip r:embed="rId4">
            <a:duotone>
              <a:schemeClr val="accent1">
                <a:shade val="45000"/>
                <a:satMod val="135000"/>
              </a:schemeClr>
              <a:prstClr val="white"/>
            </a:duotone>
          </a:blip>
          <a:stretch>
            <a:fillRect/>
          </a:stretch>
        </p:blipFill>
        <p:spPr>
          <a:xfrm>
            <a:off x="8572813" y="1629259"/>
            <a:ext cx="794345" cy="794345"/>
          </a:xfrm>
          <a:prstGeom prst="rect">
            <a:avLst/>
          </a:prstGeom>
        </p:spPr>
      </p:pic>
    </p:spTree>
    <p:extLst>
      <p:ext uri="{BB962C8B-B14F-4D97-AF65-F5344CB8AC3E}">
        <p14:creationId xmlns:p14="http://schemas.microsoft.com/office/powerpoint/2010/main" val="35437613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CF3FEA-51F6-5DEE-94A3-DF5E6CABF655}"/>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5C50F47F-E280-86C0-6CA9-8880819CEAE9}"/>
              </a:ext>
            </a:extLst>
          </p:cNvPr>
          <p:cNvSpPr>
            <a:spLocks/>
          </p:cNvSpPr>
          <p:nvPr/>
        </p:nvSpPr>
        <p:spPr>
          <a:xfrm>
            <a:off x="455058" y="878687"/>
            <a:ext cx="2751740" cy="336608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360000" rtlCol="0" fromWordArt="0" anchor="t" anchorCtr="0" forceAA="0" compatLnSpc="1">
            <a:prstTxWarp prst="textNoShape">
              <a:avLst/>
            </a:prstTxWarp>
            <a:noAutofit/>
          </a:bodyPr>
          <a:lstStyle/>
          <a:p>
            <a:pPr marR="0" lvl="0" algn="l" defTabSz="1071743" rtl="0" eaLnBrk="1" fontAlgn="auto" latinLnBrk="0" hangingPunct="1">
              <a:lnSpc>
                <a:spcPct val="100000"/>
              </a:lnSpc>
              <a:spcBef>
                <a:spcPts val="300"/>
              </a:spcBef>
              <a:spcAft>
                <a:spcPts val="600"/>
              </a:spcAft>
              <a:buClr>
                <a:srgbClr val="FFE600"/>
              </a:buClr>
              <a:buSzPct val="100000"/>
              <a:tabLst/>
              <a:defRPr/>
            </a:pPr>
            <a:r>
              <a:rPr kumimoji="0" lang="en-AU" sz="1600" b="1" i="0" u="none" strike="noStrike" kern="1200" cap="none" spc="0" normalizeH="0" baseline="0" noProof="0" dirty="0">
                <a:ln>
                  <a:noFill/>
                </a:ln>
                <a:solidFill>
                  <a:schemeClr val="accent1"/>
                </a:solidFill>
                <a:effectLst/>
                <a:uLnTx/>
                <a:uFillTx/>
                <a:latin typeface="+mj-lt"/>
                <a:ea typeface="+mn-ea"/>
                <a:cs typeface="+mn-cs"/>
              </a:rPr>
              <a:t>Model segments</a:t>
            </a:r>
          </a:p>
          <a:p>
            <a:pPr marR="0" lvl="0" algn="l" defTabSz="1071743" rtl="0" eaLnBrk="1" fontAlgn="auto" latinLnBrk="0" hangingPunct="1">
              <a:lnSpc>
                <a:spcPct val="100000"/>
              </a:lnSpc>
              <a:spcBef>
                <a:spcPts val="300"/>
              </a:spcBef>
              <a:spcAft>
                <a:spcPts val="300"/>
              </a:spcAft>
              <a:buSzPct val="70000"/>
              <a:tabLst/>
              <a:defRPr/>
            </a:pPr>
            <a:endParaRPr lang="en-AU" sz="1400" dirty="0">
              <a:solidFill>
                <a:srgbClr val="5B5B5B"/>
              </a:solidFill>
              <a:latin typeface="+mj-lt"/>
            </a:endParaRPr>
          </a:p>
          <a:p>
            <a:pPr marR="0" lvl="0" algn="l" defTabSz="1071743" rtl="0" eaLnBrk="1" fontAlgn="auto" latinLnBrk="0" hangingPunct="1">
              <a:lnSpc>
                <a:spcPct val="100000"/>
              </a:lnSpc>
              <a:spcBef>
                <a:spcPts val="300"/>
              </a:spcBef>
              <a:spcAft>
                <a:spcPts val="300"/>
              </a:spcAft>
              <a:buClr>
                <a:srgbClr val="FFE600"/>
              </a:buClr>
              <a:buSzPct val="75000"/>
              <a:tabLst/>
              <a:defRPr/>
            </a:pPr>
            <a:endParaRPr kumimoji="0" lang="en-AU" sz="1400" b="0" i="0" u="none" strike="noStrike" kern="1200" cap="none" spc="0" normalizeH="0" baseline="0" noProof="0" dirty="0">
              <a:ln>
                <a:noFill/>
              </a:ln>
              <a:solidFill>
                <a:srgbClr val="5B5B5B"/>
              </a:solidFill>
              <a:effectLst/>
              <a:uLnTx/>
              <a:uFillTx/>
              <a:latin typeface="+mj-lt"/>
              <a:ea typeface="+mn-ea"/>
              <a:cs typeface="+mn-cs"/>
            </a:endParaRPr>
          </a:p>
          <a:p>
            <a:pPr marL="270000" marR="0" lvl="0" indent="-270000" algn="l" defTabSz="1071743" rtl="0" eaLnBrk="1" fontAlgn="auto" latinLnBrk="0" hangingPunct="1">
              <a:lnSpc>
                <a:spcPct val="100000"/>
              </a:lnSpc>
              <a:spcBef>
                <a:spcPts val="300"/>
              </a:spcBef>
              <a:spcAft>
                <a:spcPts val="300"/>
              </a:spcAft>
              <a:buClr>
                <a:srgbClr val="FFE600"/>
              </a:buClr>
              <a:buSzPct val="75000"/>
              <a:buFont typeface="Arial" panose="020B0604020202020204" pitchFamily="34" charset="0"/>
              <a:buChar char="►"/>
              <a:tabLst/>
              <a:defRPr/>
            </a:pPr>
            <a:endParaRPr lang="en-AU" sz="1400" dirty="0">
              <a:solidFill>
                <a:srgbClr val="5B5B5B"/>
              </a:solidFill>
              <a:latin typeface="+mj-lt"/>
            </a:endParaRPr>
          </a:p>
          <a:p>
            <a:pPr marL="270000" marR="0" lvl="0" indent="-270000" algn="l" defTabSz="1071743" rtl="0" eaLnBrk="1" fontAlgn="auto" latinLnBrk="0" hangingPunct="1">
              <a:lnSpc>
                <a:spcPct val="100000"/>
              </a:lnSpc>
              <a:spcBef>
                <a:spcPts val="300"/>
              </a:spcBef>
              <a:spcAft>
                <a:spcPts val="300"/>
              </a:spcAft>
              <a:buClr>
                <a:srgbClr val="FFE600"/>
              </a:buClr>
              <a:buSzPct val="75000"/>
              <a:buFont typeface="Arial" panose="020B0604020202020204" pitchFamily="34" charset="0"/>
              <a:buChar char="►"/>
              <a:tabLst/>
              <a:defRPr/>
            </a:pPr>
            <a:endParaRPr kumimoji="0" lang="en-AU" sz="1400" b="0" i="0" u="none" strike="noStrike" kern="1200" cap="none" spc="0" normalizeH="0" baseline="0" noProof="0" dirty="0">
              <a:ln>
                <a:noFill/>
              </a:ln>
              <a:solidFill>
                <a:srgbClr val="5B5B5B"/>
              </a:solidFill>
              <a:effectLst/>
              <a:uLnTx/>
              <a:uFillTx/>
              <a:latin typeface="+mj-lt"/>
              <a:ea typeface="+mn-ea"/>
              <a:cs typeface="+mn-cs"/>
            </a:endParaRPr>
          </a:p>
          <a:p>
            <a:pPr marL="270000" marR="0" lvl="0" indent="-270000" algn="l" defTabSz="1071743" rtl="0" eaLnBrk="1" fontAlgn="auto" latinLnBrk="0" hangingPunct="1">
              <a:lnSpc>
                <a:spcPct val="100000"/>
              </a:lnSpc>
              <a:spcBef>
                <a:spcPts val="300"/>
              </a:spcBef>
              <a:spcAft>
                <a:spcPts val="300"/>
              </a:spcAft>
              <a:buClr>
                <a:srgbClr val="FFE600"/>
              </a:buClr>
              <a:buSzPct val="75000"/>
              <a:buFont typeface="Arial" panose="020B0604020202020204" pitchFamily="34" charset="0"/>
              <a:buChar char="►"/>
              <a:tabLst/>
              <a:defRPr/>
            </a:pPr>
            <a:endParaRPr lang="en-AU" sz="1400" dirty="0">
              <a:solidFill>
                <a:srgbClr val="5B5B5B"/>
              </a:solidFill>
              <a:latin typeface="+mj-lt"/>
            </a:endParaRPr>
          </a:p>
          <a:p>
            <a:pPr marL="270000" marR="0" lvl="0" indent="-270000" algn="l" defTabSz="1071743" rtl="0" eaLnBrk="1" fontAlgn="auto" latinLnBrk="0" hangingPunct="1">
              <a:lnSpc>
                <a:spcPct val="100000"/>
              </a:lnSpc>
              <a:spcBef>
                <a:spcPts val="300"/>
              </a:spcBef>
              <a:spcAft>
                <a:spcPts val="300"/>
              </a:spcAft>
              <a:buClr>
                <a:srgbClr val="FFE600"/>
              </a:buClr>
              <a:buSzPct val="75000"/>
              <a:buFont typeface="Arial" panose="020B0604020202020204" pitchFamily="34" charset="0"/>
              <a:buChar char="►"/>
              <a:tabLst/>
              <a:defRPr/>
            </a:pPr>
            <a:endParaRPr kumimoji="0" lang="en-AU" sz="1400" b="0" i="0" u="none" strike="noStrike" kern="1200" cap="none" spc="0" normalizeH="0" baseline="0" noProof="0" dirty="0">
              <a:ln>
                <a:noFill/>
              </a:ln>
              <a:solidFill>
                <a:srgbClr val="5B5B5B"/>
              </a:solidFill>
              <a:effectLst/>
              <a:uLnTx/>
              <a:uFillTx/>
              <a:latin typeface="+mj-lt"/>
              <a:ea typeface="+mn-ea"/>
              <a:cs typeface="+mn-cs"/>
            </a:endParaRPr>
          </a:p>
          <a:p>
            <a:pPr marL="270000" marR="0" lvl="0" indent="-270000" algn="l" defTabSz="1071743" rtl="0" eaLnBrk="1" fontAlgn="auto" latinLnBrk="0" hangingPunct="1">
              <a:lnSpc>
                <a:spcPct val="100000"/>
              </a:lnSpc>
              <a:spcBef>
                <a:spcPts val="300"/>
              </a:spcBef>
              <a:spcAft>
                <a:spcPts val="300"/>
              </a:spcAft>
              <a:buClr>
                <a:srgbClr val="FFE600"/>
              </a:buClr>
              <a:buSzPct val="75000"/>
              <a:buFont typeface="Arial" panose="020B0604020202020204" pitchFamily="34" charset="0"/>
              <a:buChar char="►"/>
              <a:tabLst/>
              <a:defRPr/>
            </a:pPr>
            <a:endParaRPr lang="en-AU" sz="1400" dirty="0">
              <a:solidFill>
                <a:srgbClr val="5B5B5B"/>
              </a:solidFill>
              <a:latin typeface="+mj-lt"/>
            </a:endParaRPr>
          </a:p>
          <a:p>
            <a:pPr marL="270000" marR="0" lvl="0" indent="-270000" algn="l" defTabSz="1071743" rtl="0" eaLnBrk="1" fontAlgn="auto" latinLnBrk="0" hangingPunct="1">
              <a:lnSpc>
                <a:spcPct val="100000"/>
              </a:lnSpc>
              <a:spcBef>
                <a:spcPts val="300"/>
              </a:spcBef>
              <a:spcAft>
                <a:spcPts val="300"/>
              </a:spcAft>
              <a:buClr>
                <a:srgbClr val="FFE600"/>
              </a:buClr>
              <a:buSzPct val="75000"/>
              <a:buFont typeface="Arial" panose="020B0604020202020204" pitchFamily="34" charset="0"/>
              <a:buChar char="►"/>
              <a:tabLst/>
              <a:defRPr/>
            </a:pPr>
            <a:endParaRPr kumimoji="0" lang="en-AU" sz="1400" b="0" i="0" u="none" strike="noStrike" kern="1200" cap="none" spc="0" normalizeH="0" baseline="0" noProof="0" dirty="0">
              <a:ln>
                <a:noFill/>
              </a:ln>
              <a:solidFill>
                <a:srgbClr val="5B5B5B"/>
              </a:solidFill>
              <a:effectLst/>
              <a:uLnTx/>
              <a:uFillTx/>
              <a:latin typeface="+mj-lt"/>
              <a:ea typeface="+mn-ea"/>
              <a:cs typeface="+mn-cs"/>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r>
              <a:rPr lang="en-AU" sz="1600" b="1" dirty="0">
                <a:solidFill>
                  <a:schemeClr val="accent1"/>
                </a:solidFill>
              </a:rPr>
              <a:t>Data</a:t>
            </a: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p:txBody>
      </p:sp>
      <p:sp>
        <p:nvSpPr>
          <p:cNvPr id="24" name="Rectangle: Rounded Corners 23">
            <a:extLst>
              <a:ext uri="{FF2B5EF4-FFF2-40B4-BE49-F238E27FC236}">
                <a16:creationId xmlns:a16="http://schemas.microsoft.com/office/drawing/2014/main" id="{74C78164-9845-4AD7-45B6-DED8222A89DA}"/>
              </a:ext>
            </a:extLst>
          </p:cNvPr>
          <p:cNvSpPr/>
          <p:nvPr/>
        </p:nvSpPr>
        <p:spPr>
          <a:xfrm>
            <a:off x="3568193" y="1341497"/>
            <a:ext cx="8296951" cy="1939437"/>
          </a:xfrm>
          <a:prstGeom prst="roundRect">
            <a:avLst>
              <a:gd name="adj" fmla="val 4372"/>
            </a:avLst>
          </a:prstGeom>
          <a:solidFill>
            <a:schemeClr val="bg1">
              <a:lumMod val="95000"/>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AU">
              <a:solidFill>
                <a:srgbClr val="5B5B5B"/>
              </a:solidFill>
            </a:endParaRPr>
          </a:p>
        </p:txBody>
      </p:sp>
      <p:grpSp>
        <p:nvGrpSpPr>
          <p:cNvPr id="25" name="Group 24">
            <a:extLst>
              <a:ext uri="{FF2B5EF4-FFF2-40B4-BE49-F238E27FC236}">
                <a16:creationId xmlns:a16="http://schemas.microsoft.com/office/drawing/2014/main" id="{F2BC5AD6-E0C8-BA45-8B1B-6E9F51535DDE}"/>
              </a:ext>
            </a:extLst>
          </p:cNvPr>
          <p:cNvGrpSpPr/>
          <p:nvPr/>
        </p:nvGrpSpPr>
        <p:grpSpPr>
          <a:xfrm>
            <a:off x="597634" y="1375182"/>
            <a:ext cx="2528841" cy="2207351"/>
            <a:chOff x="505529" y="2598134"/>
            <a:chExt cx="3021442" cy="2561522"/>
          </a:xfrm>
        </p:grpSpPr>
        <p:sp>
          <p:nvSpPr>
            <p:cNvPr id="5" name="Rectangle 4">
              <a:extLst>
                <a:ext uri="{FF2B5EF4-FFF2-40B4-BE49-F238E27FC236}">
                  <a16:creationId xmlns:a16="http://schemas.microsoft.com/office/drawing/2014/main" id="{8348AA9A-409E-38A3-5948-AB3AF5DC2A94}"/>
                </a:ext>
              </a:extLst>
            </p:cNvPr>
            <p:cNvSpPr/>
            <p:nvPr/>
          </p:nvSpPr>
          <p:spPr>
            <a:xfrm>
              <a:off x="636157" y="2747216"/>
              <a:ext cx="1189946" cy="234729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AU" sz="1400" b="1">
                  <a:solidFill>
                    <a:schemeClr val="tx1"/>
                  </a:solidFill>
                  <a:latin typeface="+mj-lt"/>
                </a:rPr>
                <a:t>E-bikes</a:t>
              </a:r>
            </a:p>
          </p:txBody>
        </p:sp>
        <p:sp>
          <p:nvSpPr>
            <p:cNvPr id="6" name="Rectangle 5">
              <a:extLst>
                <a:ext uri="{FF2B5EF4-FFF2-40B4-BE49-F238E27FC236}">
                  <a16:creationId xmlns:a16="http://schemas.microsoft.com/office/drawing/2014/main" id="{84F25234-E3A1-AA4F-3890-A4D134A02910}"/>
                </a:ext>
              </a:extLst>
            </p:cNvPr>
            <p:cNvSpPr/>
            <p:nvPr/>
          </p:nvSpPr>
          <p:spPr>
            <a:xfrm>
              <a:off x="2051300" y="2747217"/>
              <a:ext cx="1475671" cy="234729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AU" sz="1400" b="1">
                  <a:solidFill>
                    <a:schemeClr val="tx1"/>
                  </a:solidFill>
                  <a:latin typeface="+mj-lt"/>
                </a:rPr>
                <a:t>E-scooters</a:t>
              </a:r>
            </a:p>
          </p:txBody>
        </p:sp>
        <p:sp>
          <p:nvSpPr>
            <p:cNvPr id="8" name="Rectangle 7">
              <a:extLst>
                <a:ext uri="{FF2B5EF4-FFF2-40B4-BE49-F238E27FC236}">
                  <a16:creationId xmlns:a16="http://schemas.microsoft.com/office/drawing/2014/main" id="{E1368B4B-267A-88AE-CC75-EBCD1ABACFBB}"/>
                </a:ext>
              </a:extLst>
            </p:cNvPr>
            <p:cNvSpPr/>
            <p:nvPr/>
          </p:nvSpPr>
          <p:spPr>
            <a:xfrm>
              <a:off x="529133" y="3186899"/>
              <a:ext cx="1197953" cy="53437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dirty="0">
                  <a:solidFill>
                    <a:schemeClr val="bg1"/>
                  </a:solidFill>
                  <a:latin typeface="+mj-lt"/>
                </a:rPr>
                <a:t>Private </a:t>
              </a:r>
            </a:p>
            <a:p>
              <a:pPr algn="ctr"/>
              <a:r>
                <a:rPr lang="en-AU" sz="1400" dirty="0">
                  <a:solidFill>
                    <a:schemeClr val="bg1"/>
                  </a:solidFill>
                  <a:latin typeface="+mj-lt"/>
                </a:rPr>
                <a:t>use</a:t>
              </a:r>
            </a:p>
          </p:txBody>
        </p:sp>
        <p:sp>
          <p:nvSpPr>
            <p:cNvPr id="9" name="Rectangle 8">
              <a:extLst>
                <a:ext uri="{FF2B5EF4-FFF2-40B4-BE49-F238E27FC236}">
                  <a16:creationId xmlns:a16="http://schemas.microsoft.com/office/drawing/2014/main" id="{42380B11-BB5A-28C4-01DD-BF3C1CAE818E}"/>
                </a:ext>
              </a:extLst>
            </p:cNvPr>
            <p:cNvSpPr/>
            <p:nvPr/>
          </p:nvSpPr>
          <p:spPr>
            <a:xfrm>
              <a:off x="529133" y="4259954"/>
              <a:ext cx="1197953" cy="549717"/>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a:solidFill>
                    <a:schemeClr val="tx1"/>
                  </a:solidFill>
                  <a:latin typeface="+mj-lt"/>
                </a:rPr>
                <a:t>Shared scheme</a:t>
              </a:r>
            </a:p>
          </p:txBody>
        </p:sp>
        <p:sp>
          <p:nvSpPr>
            <p:cNvPr id="15" name="Rectangle 14">
              <a:extLst>
                <a:ext uri="{FF2B5EF4-FFF2-40B4-BE49-F238E27FC236}">
                  <a16:creationId xmlns:a16="http://schemas.microsoft.com/office/drawing/2014/main" id="{68BA985D-1936-93C8-EA73-5483BABB3E1C}"/>
                </a:ext>
              </a:extLst>
            </p:cNvPr>
            <p:cNvSpPr/>
            <p:nvPr/>
          </p:nvSpPr>
          <p:spPr>
            <a:xfrm>
              <a:off x="2150316" y="3193147"/>
              <a:ext cx="1274527" cy="55228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a:solidFill>
                    <a:schemeClr val="bg1"/>
                  </a:solidFill>
                  <a:latin typeface="+mj-lt"/>
                </a:rPr>
                <a:t>Private </a:t>
              </a:r>
            </a:p>
            <a:p>
              <a:pPr algn="ctr"/>
              <a:r>
                <a:rPr lang="en-AU" sz="1400">
                  <a:solidFill>
                    <a:schemeClr val="bg1"/>
                  </a:solidFill>
                  <a:latin typeface="+mj-lt"/>
                </a:rPr>
                <a:t>use</a:t>
              </a:r>
            </a:p>
          </p:txBody>
        </p:sp>
        <p:sp>
          <p:nvSpPr>
            <p:cNvPr id="16" name="Rectangle 15">
              <a:extLst>
                <a:ext uri="{FF2B5EF4-FFF2-40B4-BE49-F238E27FC236}">
                  <a16:creationId xmlns:a16="http://schemas.microsoft.com/office/drawing/2014/main" id="{B338BF6C-10AA-AF2A-8F43-01A260BB2863}"/>
                </a:ext>
              </a:extLst>
            </p:cNvPr>
            <p:cNvSpPr/>
            <p:nvPr/>
          </p:nvSpPr>
          <p:spPr>
            <a:xfrm>
              <a:off x="2139430" y="4249068"/>
              <a:ext cx="1285412" cy="560597"/>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a:solidFill>
                    <a:schemeClr val="tx1"/>
                  </a:solidFill>
                  <a:latin typeface="+mj-lt"/>
                </a:rPr>
                <a:t>Shared scheme</a:t>
              </a:r>
            </a:p>
          </p:txBody>
        </p:sp>
        <p:cxnSp>
          <p:nvCxnSpPr>
            <p:cNvPr id="18" name="Straight Connector 17">
              <a:extLst>
                <a:ext uri="{FF2B5EF4-FFF2-40B4-BE49-F238E27FC236}">
                  <a16:creationId xmlns:a16="http://schemas.microsoft.com/office/drawing/2014/main" id="{07A9B3CD-28B3-1491-1F8B-0A5F0794E549}"/>
                </a:ext>
              </a:extLst>
            </p:cNvPr>
            <p:cNvCxnSpPr/>
            <p:nvPr/>
          </p:nvCxnSpPr>
          <p:spPr>
            <a:xfrm>
              <a:off x="505529" y="3945459"/>
              <a:ext cx="3021442" cy="0"/>
            </a:xfrm>
            <a:prstGeom prst="line">
              <a:avLst/>
            </a:prstGeom>
            <a:ln>
              <a:tailEnd type="none"/>
            </a:ln>
          </p:spPr>
          <p:style>
            <a:lnRef idx="2">
              <a:schemeClr val="dk1"/>
            </a:lnRef>
            <a:fillRef idx="0">
              <a:schemeClr val="dk1"/>
            </a:fillRef>
            <a:effectRef idx="1">
              <a:schemeClr val="dk1"/>
            </a:effectRef>
            <a:fontRef idx="minor">
              <a:schemeClr val="tx1"/>
            </a:fontRef>
          </p:style>
        </p:cxnSp>
        <p:cxnSp>
          <p:nvCxnSpPr>
            <p:cNvPr id="19" name="Straight Connector 18">
              <a:extLst>
                <a:ext uri="{FF2B5EF4-FFF2-40B4-BE49-F238E27FC236}">
                  <a16:creationId xmlns:a16="http://schemas.microsoft.com/office/drawing/2014/main" id="{7B3826F6-3A44-D135-C1D4-84C6EDBFF36E}"/>
                </a:ext>
              </a:extLst>
            </p:cNvPr>
            <p:cNvCxnSpPr>
              <a:cxnSpLocks/>
            </p:cNvCxnSpPr>
            <p:nvPr/>
          </p:nvCxnSpPr>
          <p:spPr>
            <a:xfrm flipH="1">
              <a:off x="1933127" y="2598134"/>
              <a:ext cx="18619" cy="2561522"/>
            </a:xfrm>
            <a:prstGeom prst="line">
              <a:avLst/>
            </a:prstGeom>
            <a:ln>
              <a:tailEnd type="none"/>
            </a:ln>
          </p:spPr>
          <p:style>
            <a:lnRef idx="2">
              <a:schemeClr val="dk1"/>
            </a:lnRef>
            <a:fillRef idx="0">
              <a:schemeClr val="dk1"/>
            </a:fillRef>
            <a:effectRef idx="1">
              <a:schemeClr val="dk1"/>
            </a:effectRef>
            <a:fontRef idx="minor">
              <a:schemeClr val="tx1"/>
            </a:fontRef>
          </p:style>
        </p:cxnSp>
      </p:grpSp>
      <p:grpSp>
        <p:nvGrpSpPr>
          <p:cNvPr id="31" name="Group 30">
            <a:extLst>
              <a:ext uri="{FF2B5EF4-FFF2-40B4-BE49-F238E27FC236}">
                <a16:creationId xmlns:a16="http://schemas.microsoft.com/office/drawing/2014/main" id="{8550DA6A-B1BB-0045-8ED7-067C24E9EE77}"/>
              </a:ext>
            </a:extLst>
          </p:cNvPr>
          <p:cNvGrpSpPr/>
          <p:nvPr/>
        </p:nvGrpSpPr>
        <p:grpSpPr>
          <a:xfrm>
            <a:off x="3834266" y="2131705"/>
            <a:ext cx="7760100" cy="498574"/>
            <a:chOff x="6323578" y="1915568"/>
            <a:chExt cx="5662660" cy="498574"/>
          </a:xfrm>
        </p:grpSpPr>
        <p:sp>
          <p:nvSpPr>
            <p:cNvPr id="3" name="Rectangle 2">
              <a:extLst>
                <a:ext uri="{FF2B5EF4-FFF2-40B4-BE49-F238E27FC236}">
                  <a16:creationId xmlns:a16="http://schemas.microsoft.com/office/drawing/2014/main" id="{3ECB3B10-F7DC-1260-5B95-E27C4E4877F8}"/>
                </a:ext>
              </a:extLst>
            </p:cNvPr>
            <p:cNvSpPr>
              <a:spLocks/>
            </p:cNvSpPr>
            <p:nvPr/>
          </p:nvSpPr>
          <p:spPr>
            <a:xfrm>
              <a:off x="6323578" y="1946142"/>
              <a:ext cx="1149593" cy="46800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dirty="0">
                  <a:solidFill>
                    <a:srgbClr val="5B5B5B"/>
                  </a:solidFill>
                  <a:latin typeface="+mj-lt"/>
                </a:rPr>
                <a:t>Number of MMD Injuries</a:t>
              </a:r>
            </a:p>
          </p:txBody>
        </p:sp>
        <p:sp>
          <p:nvSpPr>
            <p:cNvPr id="7" name="Rectangle 6">
              <a:extLst>
                <a:ext uri="{FF2B5EF4-FFF2-40B4-BE49-F238E27FC236}">
                  <a16:creationId xmlns:a16="http://schemas.microsoft.com/office/drawing/2014/main" id="{62B21CBB-C4BB-C01E-B69C-89B7118FB8C7}"/>
                </a:ext>
              </a:extLst>
            </p:cNvPr>
            <p:cNvSpPr>
              <a:spLocks/>
            </p:cNvSpPr>
            <p:nvPr/>
          </p:nvSpPr>
          <p:spPr>
            <a:xfrm>
              <a:off x="8200671" y="1937555"/>
              <a:ext cx="1744784" cy="468000"/>
            </a:xfrm>
            <a:prstGeom prst="rect">
              <a:avLst/>
            </a:prstGeom>
            <a:gradFill>
              <a:gsLst>
                <a:gs pos="0">
                  <a:schemeClr val="accent2">
                    <a:lumMod val="25000"/>
                    <a:lumOff val="7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dirty="0">
                  <a:solidFill>
                    <a:srgbClr val="5B5B5B"/>
                  </a:solidFill>
                  <a:latin typeface="+mj-lt"/>
                </a:rPr>
                <a:t>Propensity to claim</a:t>
              </a:r>
            </a:p>
            <a:p>
              <a:pPr algn="ctr"/>
              <a:r>
                <a:rPr lang="en-AU" sz="1400" dirty="0">
                  <a:solidFill>
                    <a:srgbClr val="5B5B5B"/>
                  </a:solidFill>
                  <a:latin typeface="+mj-lt"/>
                </a:rPr>
                <a:t>(likelihood to claim benefits)</a:t>
              </a:r>
            </a:p>
          </p:txBody>
        </p:sp>
        <p:sp>
          <p:nvSpPr>
            <p:cNvPr id="10" name="Rectangle 9">
              <a:extLst>
                <a:ext uri="{FF2B5EF4-FFF2-40B4-BE49-F238E27FC236}">
                  <a16:creationId xmlns:a16="http://schemas.microsoft.com/office/drawing/2014/main" id="{659763B7-41E6-AFCC-7FD0-C997C6AA60B2}"/>
                </a:ext>
              </a:extLst>
            </p:cNvPr>
            <p:cNvSpPr/>
            <p:nvPr/>
          </p:nvSpPr>
          <p:spPr>
            <a:xfrm>
              <a:off x="10416638" y="1915568"/>
              <a:ext cx="1569600" cy="468000"/>
            </a:xfrm>
            <a:prstGeom prst="rect">
              <a:avLst/>
            </a:prstGeom>
            <a:solidFill>
              <a:schemeClr val="accent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dirty="0">
                  <a:solidFill>
                    <a:srgbClr val="5B5B5B"/>
                  </a:solidFill>
                  <a:latin typeface="+mj-lt"/>
                </a:rPr>
                <a:t>Average claims size</a:t>
              </a:r>
            </a:p>
          </p:txBody>
        </p:sp>
      </p:grpSp>
      <p:pic>
        <p:nvPicPr>
          <p:cNvPr id="26" name="Graphic 25" descr="Add with solid fill">
            <a:extLst>
              <a:ext uri="{FF2B5EF4-FFF2-40B4-BE49-F238E27FC236}">
                <a16:creationId xmlns:a16="http://schemas.microsoft.com/office/drawing/2014/main" id="{FE0B7589-36AD-CC6D-E1AD-6513288E98C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683666">
            <a:off x="5860811" y="2287614"/>
            <a:ext cx="215767" cy="217331"/>
          </a:xfrm>
          <a:prstGeom prst="rect">
            <a:avLst/>
          </a:prstGeom>
        </p:spPr>
      </p:pic>
      <p:sp>
        <p:nvSpPr>
          <p:cNvPr id="17" name="Rectangle 16">
            <a:extLst>
              <a:ext uri="{FF2B5EF4-FFF2-40B4-BE49-F238E27FC236}">
                <a16:creationId xmlns:a16="http://schemas.microsoft.com/office/drawing/2014/main" id="{F7874D21-4249-318F-A88A-9D768B4B55DD}"/>
              </a:ext>
            </a:extLst>
          </p:cNvPr>
          <p:cNvSpPr>
            <a:spLocks/>
          </p:cNvSpPr>
          <p:nvPr/>
        </p:nvSpPr>
        <p:spPr>
          <a:xfrm>
            <a:off x="165443" y="7222655"/>
            <a:ext cx="5247291" cy="570111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360000" rtlCol="0" fromWordArt="0" anchor="t" anchorCtr="0" forceAA="0" compatLnSpc="1">
            <a:prstTxWarp prst="textNoShape">
              <a:avLst/>
            </a:prstTxWarp>
            <a:noAutofit/>
          </a:bodyPr>
          <a:lstStyle/>
          <a:p>
            <a:pPr defTabSz="1071743">
              <a:spcBef>
                <a:spcPts val="300"/>
              </a:spcBef>
              <a:spcAft>
                <a:spcPts val="300"/>
              </a:spcAft>
              <a:buSzPct val="70000"/>
              <a:defRPr/>
            </a:pPr>
            <a:endParaRPr lang="en-AU" sz="1400">
              <a:solidFill>
                <a:srgbClr val="2E2E38"/>
              </a:solidFill>
              <a:highlight>
                <a:srgbClr val="FFFF00"/>
              </a:highlight>
              <a:latin typeface="+mj-lt"/>
            </a:endParaRPr>
          </a:p>
        </p:txBody>
      </p:sp>
      <p:sp>
        <p:nvSpPr>
          <p:cNvPr id="12" name="Title 7">
            <a:extLst>
              <a:ext uri="{FF2B5EF4-FFF2-40B4-BE49-F238E27FC236}">
                <a16:creationId xmlns:a16="http://schemas.microsoft.com/office/drawing/2014/main" id="{19BF5BCE-8122-CCF6-0DFA-46E13B3EA678}"/>
              </a:ext>
            </a:extLst>
          </p:cNvPr>
          <p:cNvSpPr txBox="1">
            <a:spLocks/>
          </p:cNvSpPr>
          <p:nvPr/>
        </p:nvSpPr>
        <p:spPr>
          <a:xfrm>
            <a:off x="326849" y="288389"/>
            <a:ext cx="5599252" cy="1232435"/>
          </a:xfrm>
          <a:prstGeom prst="rect">
            <a:avLst/>
          </a:prstGeom>
        </p:spPr>
        <p:txBody>
          <a:bodyPr/>
          <a:lstStyle>
            <a:lvl1pPr algn="l" defTabSz="914400" rtl="0" eaLnBrk="1" latinLnBrk="0" hangingPunct="1">
              <a:lnSpc>
                <a:spcPct val="90000"/>
              </a:lnSpc>
              <a:spcBef>
                <a:spcPct val="0"/>
              </a:spcBef>
              <a:buNone/>
              <a:defRPr sz="3100" kern="1200">
                <a:solidFill>
                  <a:schemeClr val="tx1"/>
                </a:solidFill>
                <a:latin typeface="+mj-lt"/>
                <a:ea typeface="+mj-ea"/>
                <a:cs typeface="+mj-cs"/>
              </a:defRPr>
            </a:lvl1pPr>
          </a:lstStyle>
          <a:p>
            <a:r>
              <a:rPr lang="en-US"/>
              <a:t>Approach and Data</a:t>
            </a:r>
          </a:p>
        </p:txBody>
      </p:sp>
      <p:sp>
        <p:nvSpPr>
          <p:cNvPr id="2" name="Rectangle 1">
            <a:extLst>
              <a:ext uri="{FF2B5EF4-FFF2-40B4-BE49-F238E27FC236}">
                <a16:creationId xmlns:a16="http://schemas.microsoft.com/office/drawing/2014/main" id="{31970CFF-4832-2030-31D7-B4302851D470}"/>
              </a:ext>
            </a:extLst>
          </p:cNvPr>
          <p:cNvSpPr>
            <a:spLocks/>
          </p:cNvSpPr>
          <p:nvPr/>
        </p:nvSpPr>
        <p:spPr>
          <a:xfrm>
            <a:off x="3568194" y="878686"/>
            <a:ext cx="8313763" cy="75492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360000" rtlCol="0" fromWordArt="0" anchor="t" anchorCtr="0" forceAA="0" compatLnSpc="1">
            <a:prstTxWarp prst="textNoShape">
              <a:avLst/>
            </a:prstTxWarp>
            <a:noAutofit/>
          </a:bodyPr>
          <a:lstStyle/>
          <a:p>
            <a:pPr marR="0" lvl="0" algn="l" defTabSz="1071743" rtl="0" eaLnBrk="1" fontAlgn="auto" latinLnBrk="0" hangingPunct="1">
              <a:lnSpc>
                <a:spcPct val="100000"/>
              </a:lnSpc>
              <a:spcBef>
                <a:spcPts val="300"/>
              </a:spcBef>
              <a:spcAft>
                <a:spcPts val="600"/>
              </a:spcAft>
              <a:buClr>
                <a:srgbClr val="FFE600"/>
              </a:buClr>
              <a:buSzPct val="100000"/>
              <a:tabLst/>
              <a:defRPr/>
            </a:pPr>
            <a:r>
              <a:rPr kumimoji="0" lang="en-AU" sz="1600" b="1" i="0" u="none" strike="noStrike" kern="1200" cap="none" spc="0" normalizeH="0" baseline="0" noProof="0">
                <a:ln>
                  <a:noFill/>
                </a:ln>
                <a:solidFill>
                  <a:schemeClr val="accent1"/>
                </a:solidFill>
                <a:effectLst/>
                <a:uLnTx/>
                <a:uFillTx/>
                <a:latin typeface="+mj-lt"/>
              </a:rPr>
              <a:t>Model structure</a:t>
            </a:r>
          </a:p>
          <a:p>
            <a:pPr defTabSz="1071743">
              <a:spcBef>
                <a:spcPts val="300"/>
              </a:spcBef>
              <a:spcAft>
                <a:spcPts val="300"/>
              </a:spcAft>
              <a:buSzPct val="70000"/>
              <a:defRPr/>
            </a:pPr>
            <a:endParaRPr lang="en-AU" sz="1400">
              <a:solidFill>
                <a:srgbClr val="5B5B5B"/>
              </a:solidFill>
              <a:latin typeface="+mj-lt"/>
            </a:endParaRPr>
          </a:p>
        </p:txBody>
      </p:sp>
      <p:cxnSp>
        <p:nvCxnSpPr>
          <p:cNvPr id="21" name="Straight Connector 20">
            <a:extLst>
              <a:ext uri="{FF2B5EF4-FFF2-40B4-BE49-F238E27FC236}">
                <a16:creationId xmlns:a16="http://schemas.microsoft.com/office/drawing/2014/main" id="{64DBF34E-CAD5-43B3-278A-70C884D7700F}"/>
              </a:ext>
            </a:extLst>
          </p:cNvPr>
          <p:cNvCxnSpPr/>
          <p:nvPr/>
        </p:nvCxnSpPr>
        <p:spPr>
          <a:xfrm>
            <a:off x="3360420" y="861147"/>
            <a:ext cx="0" cy="5322459"/>
          </a:xfrm>
          <a:prstGeom prst="line">
            <a:avLst/>
          </a:prstGeom>
          <a:ln>
            <a:solidFill>
              <a:schemeClr val="accent2">
                <a:lumMod val="75000"/>
                <a:lumOff val="25000"/>
              </a:schemeClr>
            </a:solidFill>
            <a:prstDash val="lgDashDot"/>
          </a:ln>
        </p:spPr>
        <p:style>
          <a:lnRef idx="1">
            <a:schemeClr val="accent1"/>
          </a:lnRef>
          <a:fillRef idx="0">
            <a:schemeClr val="accent1"/>
          </a:fillRef>
          <a:effectRef idx="0">
            <a:schemeClr val="accent1"/>
          </a:effectRef>
          <a:fontRef idx="minor">
            <a:schemeClr val="tx1"/>
          </a:fontRef>
        </p:style>
      </p:cxnSp>
      <p:pic>
        <p:nvPicPr>
          <p:cNvPr id="22" name="Graphic 21" descr="Add with solid fill">
            <a:extLst>
              <a:ext uri="{FF2B5EF4-FFF2-40B4-BE49-F238E27FC236}">
                <a16:creationId xmlns:a16="http://schemas.microsoft.com/office/drawing/2014/main" id="{F7DFE027-B89F-BA28-4BFA-E52F0544627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683666">
            <a:off x="8974613" y="2300220"/>
            <a:ext cx="215767" cy="217331"/>
          </a:xfrm>
          <a:prstGeom prst="rect">
            <a:avLst/>
          </a:prstGeom>
        </p:spPr>
      </p:pic>
      <p:sp>
        <p:nvSpPr>
          <p:cNvPr id="39" name="Rectangle 38">
            <a:extLst>
              <a:ext uri="{FF2B5EF4-FFF2-40B4-BE49-F238E27FC236}">
                <a16:creationId xmlns:a16="http://schemas.microsoft.com/office/drawing/2014/main" id="{42AAB5D8-1571-AB53-6DAE-4C3B1AEAF1F0}"/>
              </a:ext>
            </a:extLst>
          </p:cNvPr>
          <p:cNvSpPr>
            <a:spLocks/>
          </p:cNvSpPr>
          <p:nvPr/>
        </p:nvSpPr>
        <p:spPr>
          <a:xfrm>
            <a:off x="6523889" y="4071102"/>
            <a:ext cx="2520000" cy="252000"/>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dirty="0">
                <a:solidFill>
                  <a:srgbClr val="5B5B5B"/>
                </a:solidFill>
                <a:latin typeface="+mj-lt"/>
              </a:rPr>
              <a:t>Non-CTP cost </a:t>
            </a:r>
          </a:p>
        </p:txBody>
      </p:sp>
      <p:sp>
        <p:nvSpPr>
          <p:cNvPr id="40" name="Rectangle 39">
            <a:extLst>
              <a:ext uri="{FF2B5EF4-FFF2-40B4-BE49-F238E27FC236}">
                <a16:creationId xmlns:a16="http://schemas.microsoft.com/office/drawing/2014/main" id="{DEAD9E41-8833-4683-06D3-5BAFE46B0484}"/>
              </a:ext>
            </a:extLst>
          </p:cNvPr>
          <p:cNvSpPr>
            <a:spLocks/>
          </p:cNvSpPr>
          <p:nvPr/>
        </p:nvSpPr>
        <p:spPr>
          <a:xfrm>
            <a:off x="3690664" y="4071102"/>
            <a:ext cx="2520000" cy="25200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dirty="0">
                <a:solidFill>
                  <a:srgbClr val="5B5B5B"/>
                </a:solidFill>
                <a:latin typeface="+mj-lt"/>
              </a:rPr>
              <a:t>CTP cost</a:t>
            </a:r>
          </a:p>
        </p:txBody>
      </p:sp>
      <p:sp>
        <p:nvSpPr>
          <p:cNvPr id="41" name="Right Brace 40">
            <a:extLst>
              <a:ext uri="{FF2B5EF4-FFF2-40B4-BE49-F238E27FC236}">
                <a16:creationId xmlns:a16="http://schemas.microsoft.com/office/drawing/2014/main" id="{93F2BCD2-2B40-E567-5766-652181965244}"/>
              </a:ext>
            </a:extLst>
          </p:cNvPr>
          <p:cNvSpPr/>
          <p:nvPr/>
        </p:nvSpPr>
        <p:spPr>
          <a:xfrm rot="5400000">
            <a:off x="7634311" y="-450244"/>
            <a:ext cx="220334" cy="827495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48" name="TextBox 47">
            <a:extLst>
              <a:ext uri="{FF2B5EF4-FFF2-40B4-BE49-F238E27FC236}">
                <a16:creationId xmlns:a16="http://schemas.microsoft.com/office/drawing/2014/main" id="{993A18AD-C77A-7A02-036F-23ECBA7B96D6}"/>
              </a:ext>
            </a:extLst>
          </p:cNvPr>
          <p:cNvSpPr txBox="1"/>
          <p:nvPr/>
        </p:nvSpPr>
        <p:spPr>
          <a:xfrm>
            <a:off x="6523889" y="4479433"/>
            <a:ext cx="2520000" cy="1260000"/>
          </a:xfrm>
          <a:prstGeom prst="rect">
            <a:avLst/>
          </a:prstGeom>
          <a:solidFill>
            <a:schemeClr val="tx2">
              <a:lumMod val="60000"/>
              <a:lumOff val="40000"/>
            </a:schemeClr>
          </a:solidFill>
        </p:spPr>
        <p:txBody>
          <a:bodyPr wrap="square" lIns="71963" tIns="36557" rIns="71963" bIns="0" rtlCol="0" anchor="ctr">
            <a:noAutofit/>
          </a:bodyPr>
          <a:lstStyle/>
          <a:p>
            <a:pPr marL="108000" lvl="1" defTabSz="1071743">
              <a:spcBef>
                <a:spcPts val="300"/>
              </a:spcBef>
              <a:spcAft>
                <a:spcPts val="400"/>
              </a:spcAft>
              <a:buSzPct val="70000"/>
              <a:defRPr/>
            </a:pPr>
            <a:r>
              <a:rPr lang="en-AU" sz="1400">
                <a:solidFill>
                  <a:srgbClr val="FFFFFF"/>
                </a:solidFill>
                <a:latin typeface="+mj-lt"/>
              </a:rPr>
              <a:t>Costs due to claims arising from MMDs but not involving a registered motor vehicle; </a:t>
            </a:r>
          </a:p>
        </p:txBody>
      </p:sp>
      <p:sp>
        <p:nvSpPr>
          <p:cNvPr id="49" name="TextBox 48">
            <a:extLst>
              <a:ext uri="{FF2B5EF4-FFF2-40B4-BE49-F238E27FC236}">
                <a16:creationId xmlns:a16="http://schemas.microsoft.com/office/drawing/2014/main" id="{60EE16E6-2AEB-6A64-59FA-01F350562B19}"/>
              </a:ext>
            </a:extLst>
          </p:cNvPr>
          <p:cNvSpPr txBox="1"/>
          <p:nvPr/>
        </p:nvSpPr>
        <p:spPr>
          <a:xfrm>
            <a:off x="3707477" y="4479433"/>
            <a:ext cx="2520000" cy="1260000"/>
          </a:xfrm>
          <a:prstGeom prst="rect">
            <a:avLst/>
          </a:prstGeom>
          <a:solidFill>
            <a:schemeClr val="accent1">
              <a:lumMod val="20000"/>
              <a:lumOff val="80000"/>
            </a:schemeClr>
          </a:solidFill>
          <a:ln>
            <a:solidFill>
              <a:srgbClr val="848484"/>
            </a:solidFill>
          </a:ln>
        </p:spPr>
        <p:txBody>
          <a:bodyPr wrap="square" lIns="71963" tIns="36557" rIns="71963" bIns="0" rtlCol="0" anchor="ctr">
            <a:noAutofit/>
          </a:bodyPr>
          <a:lstStyle/>
          <a:p>
            <a:pPr marL="108000" lvl="1" defTabSz="1071743">
              <a:spcBef>
                <a:spcPts val="300"/>
              </a:spcBef>
              <a:spcAft>
                <a:spcPts val="400"/>
              </a:spcAft>
              <a:buSzPct val="70000"/>
              <a:defRPr/>
            </a:pPr>
            <a:r>
              <a:rPr lang="en-AU" sz="1400" dirty="0">
                <a:solidFill>
                  <a:srgbClr val="2E2E38"/>
                </a:solidFill>
                <a:latin typeface="+mj-lt"/>
              </a:rPr>
              <a:t>Costs due to a higher volume of MMDs on public roads resulting in more accidents involving a registered motor vehicle</a:t>
            </a:r>
          </a:p>
        </p:txBody>
      </p:sp>
      <p:pic>
        <p:nvPicPr>
          <p:cNvPr id="52" name="Graphic 51" descr="Open book with solid fill">
            <a:extLst>
              <a:ext uri="{FF2B5EF4-FFF2-40B4-BE49-F238E27FC236}">
                <a16:creationId xmlns:a16="http://schemas.microsoft.com/office/drawing/2014/main" id="{ED3D8A5E-4DEA-F30A-DD53-8E0FFD6DD44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5057" y="4151362"/>
            <a:ext cx="718366" cy="718366"/>
          </a:xfrm>
          <a:prstGeom prst="rect">
            <a:avLst/>
          </a:prstGeom>
        </p:spPr>
      </p:pic>
      <p:sp>
        <p:nvSpPr>
          <p:cNvPr id="53" name="Rectangle 52">
            <a:extLst>
              <a:ext uri="{FF2B5EF4-FFF2-40B4-BE49-F238E27FC236}">
                <a16:creationId xmlns:a16="http://schemas.microsoft.com/office/drawing/2014/main" id="{D72DE9AF-9165-340F-2727-500671EE97AF}"/>
              </a:ext>
            </a:extLst>
          </p:cNvPr>
          <p:cNvSpPr>
            <a:spLocks/>
          </p:cNvSpPr>
          <p:nvPr/>
        </p:nvSpPr>
        <p:spPr>
          <a:xfrm>
            <a:off x="1216898" y="4169258"/>
            <a:ext cx="2118109" cy="102144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360000" rtlCol="0" fromWordArt="0" anchor="t" anchorCtr="0" forceAA="0" compatLnSpc="1">
            <a:prstTxWarp prst="textNoShape">
              <a:avLst/>
            </a:prstTxWarp>
            <a:noAutofit/>
          </a:bodyPr>
          <a:lstStyle/>
          <a:p>
            <a:pPr defTabSz="1071743">
              <a:spcBef>
                <a:spcPts val="300"/>
              </a:spcBef>
              <a:spcAft>
                <a:spcPts val="300"/>
              </a:spcAft>
              <a:buSzPct val="70000"/>
              <a:defRPr/>
            </a:pPr>
            <a:r>
              <a:rPr lang="en-AU" sz="1400" dirty="0">
                <a:solidFill>
                  <a:srgbClr val="5B5B5B"/>
                </a:solidFill>
              </a:rPr>
              <a:t>Published reports, news articles and organisation websites</a:t>
            </a: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p:txBody>
      </p:sp>
      <p:pic>
        <p:nvPicPr>
          <p:cNvPr id="55" name="Graphic 54" descr="Earth globe: Asia and Australia with solid fill">
            <a:extLst>
              <a:ext uri="{FF2B5EF4-FFF2-40B4-BE49-F238E27FC236}">
                <a16:creationId xmlns:a16="http://schemas.microsoft.com/office/drawing/2014/main" id="{CE4F7893-1823-623C-64E6-1F0B10E0CD5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4553" y="4932202"/>
            <a:ext cx="718364" cy="718364"/>
          </a:xfrm>
          <a:prstGeom prst="rect">
            <a:avLst/>
          </a:prstGeom>
        </p:spPr>
      </p:pic>
      <p:sp>
        <p:nvSpPr>
          <p:cNvPr id="56" name="Rectangle 55">
            <a:extLst>
              <a:ext uri="{FF2B5EF4-FFF2-40B4-BE49-F238E27FC236}">
                <a16:creationId xmlns:a16="http://schemas.microsoft.com/office/drawing/2014/main" id="{A9C81BC3-84B4-B5CB-396D-7A7BA148D75B}"/>
              </a:ext>
            </a:extLst>
          </p:cNvPr>
          <p:cNvSpPr>
            <a:spLocks/>
          </p:cNvSpPr>
          <p:nvPr/>
        </p:nvSpPr>
        <p:spPr>
          <a:xfrm>
            <a:off x="1229256" y="4923418"/>
            <a:ext cx="1964650" cy="91014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360000" rtlCol="0" fromWordArt="0" anchor="t" anchorCtr="0" forceAA="0" compatLnSpc="1">
            <a:prstTxWarp prst="textNoShape">
              <a:avLst/>
            </a:prstTxWarp>
            <a:noAutofit/>
          </a:bodyPr>
          <a:lstStyle/>
          <a:p>
            <a:pPr defTabSz="1071743">
              <a:spcBef>
                <a:spcPts val="300"/>
              </a:spcBef>
              <a:spcAft>
                <a:spcPts val="300"/>
              </a:spcAft>
              <a:buSzPct val="70000"/>
              <a:defRPr/>
            </a:pPr>
            <a:r>
              <a:rPr lang="en-AU" sz="1400" dirty="0">
                <a:solidFill>
                  <a:srgbClr val="5B5B5B"/>
                </a:solidFill>
              </a:rPr>
              <a:t>Mixture Australian and overseas data was considered. </a:t>
            </a:r>
            <a:endParaRPr lang="en-AU" sz="1400" dirty="0">
              <a:solidFill>
                <a:srgbClr val="5B5B5B"/>
              </a:solidFill>
              <a:highlight>
                <a:srgbClr val="FFFF00"/>
              </a:highligh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a:p>
            <a:pPr defTabSz="1071743">
              <a:spcBef>
                <a:spcPts val="300"/>
              </a:spcBef>
              <a:spcAft>
                <a:spcPts val="300"/>
              </a:spcAft>
              <a:buSzPct val="70000"/>
              <a:defRPr/>
            </a:pPr>
            <a:endParaRPr lang="en-AU" sz="1400" dirty="0">
              <a:solidFill>
                <a:srgbClr val="5B5B5B"/>
              </a:solidFill>
              <a:latin typeface="+mj-lt"/>
            </a:endParaRPr>
          </a:p>
        </p:txBody>
      </p:sp>
      <p:sp>
        <p:nvSpPr>
          <p:cNvPr id="4" name="Rectangle 3">
            <a:extLst>
              <a:ext uri="{FF2B5EF4-FFF2-40B4-BE49-F238E27FC236}">
                <a16:creationId xmlns:a16="http://schemas.microsoft.com/office/drawing/2014/main" id="{5B6F874B-59BF-A58A-1BE2-B6B17B08495F}"/>
              </a:ext>
            </a:extLst>
          </p:cNvPr>
          <p:cNvSpPr>
            <a:spLocks/>
          </p:cNvSpPr>
          <p:nvPr/>
        </p:nvSpPr>
        <p:spPr>
          <a:xfrm>
            <a:off x="9345902" y="4080055"/>
            <a:ext cx="2520000" cy="252000"/>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dirty="0">
                <a:solidFill>
                  <a:srgbClr val="5B5B5B"/>
                </a:solidFill>
                <a:latin typeface="+mj-lt"/>
              </a:rPr>
              <a:t>Other </a:t>
            </a:r>
          </a:p>
        </p:txBody>
      </p:sp>
      <p:sp>
        <p:nvSpPr>
          <p:cNvPr id="11" name="TextBox 10">
            <a:extLst>
              <a:ext uri="{FF2B5EF4-FFF2-40B4-BE49-F238E27FC236}">
                <a16:creationId xmlns:a16="http://schemas.microsoft.com/office/drawing/2014/main" id="{AD92B89D-9AC3-2AD2-ACE5-51F70401C2C0}"/>
              </a:ext>
            </a:extLst>
          </p:cNvPr>
          <p:cNvSpPr txBox="1"/>
          <p:nvPr/>
        </p:nvSpPr>
        <p:spPr>
          <a:xfrm>
            <a:off x="9326530" y="4479433"/>
            <a:ext cx="2520000" cy="1260000"/>
          </a:xfrm>
          <a:prstGeom prst="rect">
            <a:avLst/>
          </a:prstGeom>
          <a:solidFill>
            <a:srgbClr val="848484"/>
          </a:solidFill>
          <a:ln>
            <a:solidFill>
              <a:srgbClr val="848484"/>
            </a:solidFill>
          </a:ln>
        </p:spPr>
        <p:txBody>
          <a:bodyPr wrap="square" lIns="71963" tIns="36557" rIns="71963" bIns="0" rtlCol="0" anchor="ctr">
            <a:noAutofit/>
          </a:bodyPr>
          <a:lstStyle/>
          <a:p>
            <a:pPr marL="108000" lvl="1" defTabSz="1071743">
              <a:spcBef>
                <a:spcPts val="300"/>
              </a:spcBef>
              <a:spcAft>
                <a:spcPts val="400"/>
              </a:spcAft>
              <a:buSzPct val="70000"/>
              <a:defRPr/>
            </a:pPr>
            <a:r>
              <a:rPr lang="en-AU" sz="1400" dirty="0">
                <a:solidFill>
                  <a:schemeClr val="bg1"/>
                </a:solidFill>
                <a:latin typeface="+mj-lt"/>
              </a:rPr>
              <a:t>Bodily injury or other liabilities arising from manufacturing or battery failures</a:t>
            </a:r>
          </a:p>
        </p:txBody>
      </p:sp>
      <p:sp>
        <p:nvSpPr>
          <p:cNvPr id="28" name="Oval 27">
            <a:extLst>
              <a:ext uri="{FF2B5EF4-FFF2-40B4-BE49-F238E27FC236}">
                <a16:creationId xmlns:a16="http://schemas.microsoft.com/office/drawing/2014/main" id="{9130BD6B-7B37-1FB8-525E-117F8C0C198E}"/>
              </a:ext>
            </a:extLst>
          </p:cNvPr>
          <p:cNvSpPr/>
          <p:nvPr/>
        </p:nvSpPr>
        <p:spPr>
          <a:xfrm>
            <a:off x="4437606" y="1630151"/>
            <a:ext cx="432000" cy="432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1</a:t>
            </a:r>
          </a:p>
        </p:txBody>
      </p:sp>
      <p:sp>
        <p:nvSpPr>
          <p:cNvPr id="29" name="Oval 28">
            <a:extLst>
              <a:ext uri="{FF2B5EF4-FFF2-40B4-BE49-F238E27FC236}">
                <a16:creationId xmlns:a16="http://schemas.microsoft.com/office/drawing/2014/main" id="{893F2B74-A599-1248-46E1-98A5EF422DFA}"/>
              </a:ext>
            </a:extLst>
          </p:cNvPr>
          <p:cNvSpPr/>
          <p:nvPr/>
        </p:nvSpPr>
        <p:spPr>
          <a:xfrm>
            <a:off x="7500668" y="1617980"/>
            <a:ext cx="432000" cy="432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2</a:t>
            </a:r>
          </a:p>
        </p:txBody>
      </p:sp>
      <p:sp>
        <p:nvSpPr>
          <p:cNvPr id="30" name="Oval 29">
            <a:extLst>
              <a:ext uri="{FF2B5EF4-FFF2-40B4-BE49-F238E27FC236}">
                <a16:creationId xmlns:a16="http://schemas.microsoft.com/office/drawing/2014/main" id="{9001A51F-C026-4B9C-D7BC-40A93F80A956}"/>
              </a:ext>
            </a:extLst>
          </p:cNvPr>
          <p:cNvSpPr/>
          <p:nvPr/>
        </p:nvSpPr>
        <p:spPr>
          <a:xfrm>
            <a:off x="10399517" y="1633611"/>
            <a:ext cx="432000" cy="432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3</a:t>
            </a:r>
          </a:p>
        </p:txBody>
      </p:sp>
    </p:spTree>
    <p:extLst>
      <p:ext uri="{BB962C8B-B14F-4D97-AF65-F5344CB8AC3E}">
        <p14:creationId xmlns:p14="http://schemas.microsoft.com/office/powerpoint/2010/main" val="8908932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lowchart: Off-page Connector 39">
            <a:extLst>
              <a:ext uri="{FF2B5EF4-FFF2-40B4-BE49-F238E27FC236}">
                <a16:creationId xmlns:a16="http://schemas.microsoft.com/office/drawing/2014/main" id="{0415D8E1-4AAD-B6C0-DCAC-2B34C4076832}"/>
              </a:ext>
            </a:extLst>
          </p:cNvPr>
          <p:cNvSpPr/>
          <p:nvPr/>
        </p:nvSpPr>
        <p:spPr>
          <a:xfrm rot="10800000">
            <a:off x="2728135" y="4013204"/>
            <a:ext cx="671431" cy="1226713"/>
          </a:xfrm>
          <a:prstGeom prst="flowChartOffpageConnector">
            <a:avLst/>
          </a:prstGeom>
          <a:solidFill>
            <a:schemeClr val="accent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itle 7">
            <a:extLst>
              <a:ext uri="{FF2B5EF4-FFF2-40B4-BE49-F238E27FC236}">
                <a16:creationId xmlns:a16="http://schemas.microsoft.com/office/drawing/2014/main" id="{0C26595A-AAB8-BB24-8231-16A55BF7136B}"/>
              </a:ext>
            </a:extLst>
          </p:cNvPr>
          <p:cNvSpPr txBox="1">
            <a:spLocks/>
          </p:cNvSpPr>
          <p:nvPr/>
        </p:nvSpPr>
        <p:spPr>
          <a:xfrm>
            <a:off x="326849" y="288389"/>
            <a:ext cx="5599252" cy="1232435"/>
          </a:xfrm>
          <a:prstGeom prst="rect">
            <a:avLst/>
          </a:prstGeom>
        </p:spPr>
        <p:txBody>
          <a:bodyPr/>
          <a:lstStyle>
            <a:lvl1pPr algn="l" defTabSz="914400" rtl="0" eaLnBrk="1" latinLnBrk="0" hangingPunct="1">
              <a:lnSpc>
                <a:spcPct val="90000"/>
              </a:lnSpc>
              <a:spcBef>
                <a:spcPct val="0"/>
              </a:spcBef>
              <a:buNone/>
              <a:defRPr sz="3100" kern="1200">
                <a:solidFill>
                  <a:schemeClr val="tx1"/>
                </a:solidFill>
                <a:latin typeface="+mj-lt"/>
                <a:ea typeface="+mj-ea"/>
                <a:cs typeface="+mj-cs"/>
              </a:defRPr>
            </a:lvl1pPr>
          </a:lstStyle>
          <a:p>
            <a:r>
              <a:rPr lang="en-US"/>
              <a:t>Current state and usage of MMDs</a:t>
            </a:r>
          </a:p>
        </p:txBody>
      </p:sp>
      <p:sp>
        <p:nvSpPr>
          <p:cNvPr id="281" name="Rectangle 280">
            <a:extLst>
              <a:ext uri="{FF2B5EF4-FFF2-40B4-BE49-F238E27FC236}">
                <a16:creationId xmlns:a16="http://schemas.microsoft.com/office/drawing/2014/main" id="{CF9EA8AD-54EE-00D8-65A8-B3C6388928DB}"/>
              </a:ext>
            </a:extLst>
          </p:cNvPr>
          <p:cNvSpPr/>
          <p:nvPr/>
        </p:nvSpPr>
        <p:spPr>
          <a:xfrm>
            <a:off x="395298" y="972074"/>
            <a:ext cx="3960000" cy="264412"/>
          </a:xfrm>
          <a:prstGeom prst="rect">
            <a:avLst/>
          </a:prstGeom>
          <a:solidFill>
            <a:schemeClr val="tx1">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a:solidFill>
                  <a:srgbClr val="FFFFFF"/>
                </a:solidFill>
                <a:latin typeface="+mj-lt"/>
              </a:rPr>
              <a:t>Current number of e-bikes and e-scooters in NSW</a:t>
            </a:r>
          </a:p>
        </p:txBody>
      </p:sp>
      <p:sp>
        <p:nvSpPr>
          <p:cNvPr id="284" name="Rectangle 283">
            <a:extLst>
              <a:ext uri="{FF2B5EF4-FFF2-40B4-BE49-F238E27FC236}">
                <a16:creationId xmlns:a16="http://schemas.microsoft.com/office/drawing/2014/main" id="{D951B5F3-E788-A04B-7E3F-53ED6CB09695}"/>
              </a:ext>
            </a:extLst>
          </p:cNvPr>
          <p:cNvSpPr/>
          <p:nvPr/>
        </p:nvSpPr>
        <p:spPr>
          <a:xfrm>
            <a:off x="4638537" y="972074"/>
            <a:ext cx="3960000" cy="264412"/>
          </a:xfrm>
          <a:prstGeom prst="rect">
            <a:avLst/>
          </a:prstGeom>
          <a:solidFill>
            <a:schemeClr val="tx1">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a:solidFill>
                  <a:srgbClr val="FFFFFF"/>
                </a:solidFill>
                <a:latin typeface="+mj-lt"/>
              </a:rPr>
              <a:t>Average distance and frequency of use </a:t>
            </a:r>
          </a:p>
        </p:txBody>
      </p:sp>
      <p:grpSp>
        <p:nvGrpSpPr>
          <p:cNvPr id="44" name="Group 43">
            <a:extLst>
              <a:ext uri="{FF2B5EF4-FFF2-40B4-BE49-F238E27FC236}">
                <a16:creationId xmlns:a16="http://schemas.microsoft.com/office/drawing/2014/main" id="{87AEF2DB-AA27-E678-297E-F511F0D446C3}"/>
              </a:ext>
            </a:extLst>
          </p:cNvPr>
          <p:cNvGrpSpPr/>
          <p:nvPr/>
        </p:nvGrpSpPr>
        <p:grpSpPr>
          <a:xfrm>
            <a:off x="4110574" y="2806418"/>
            <a:ext cx="2235150" cy="234600"/>
            <a:chOff x="1373746" y="5828407"/>
            <a:chExt cx="2235150" cy="234600"/>
          </a:xfrm>
        </p:grpSpPr>
        <p:cxnSp>
          <p:nvCxnSpPr>
            <p:cNvPr id="339" name="Straight Connector 338">
              <a:extLst>
                <a:ext uri="{FF2B5EF4-FFF2-40B4-BE49-F238E27FC236}">
                  <a16:creationId xmlns:a16="http://schemas.microsoft.com/office/drawing/2014/main" id="{EA927709-E2E4-7320-2AD8-71FB30531EE5}"/>
                </a:ext>
              </a:extLst>
            </p:cNvPr>
            <p:cNvCxnSpPr>
              <a:cxnSpLocks/>
            </p:cNvCxnSpPr>
            <p:nvPr/>
          </p:nvCxnSpPr>
          <p:spPr>
            <a:xfrm flipV="1">
              <a:off x="1388035" y="6056964"/>
              <a:ext cx="2220861" cy="6043"/>
            </a:xfrm>
            <a:prstGeom prst="line">
              <a:avLst/>
            </a:prstGeom>
            <a:ln w="6350">
              <a:solidFill>
                <a:schemeClr val="tx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ABD51D2-A75A-903B-5587-A6D5B0640A6A}"/>
                </a:ext>
              </a:extLst>
            </p:cNvPr>
            <p:cNvCxnSpPr>
              <a:cxnSpLocks/>
            </p:cNvCxnSpPr>
            <p:nvPr/>
          </p:nvCxnSpPr>
          <p:spPr>
            <a:xfrm>
              <a:off x="1373746" y="5828407"/>
              <a:ext cx="2192727" cy="0"/>
            </a:xfrm>
            <a:prstGeom prst="line">
              <a:avLst/>
            </a:prstGeom>
            <a:ln w="6350">
              <a:solidFill>
                <a:schemeClr val="tx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218F17-725E-3007-9BFE-EC4981F45897}"/>
                </a:ext>
              </a:extLst>
            </p:cNvPr>
            <p:cNvCxnSpPr>
              <a:cxnSpLocks/>
            </p:cNvCxnSpPr>
            <p:nvPr/>
          </p:nvCxnSpPr>
          <p:spPr>
            <a:xfrm>
              <a:off x="1391721" y="5954282"/>
              <a:ext cx="2171221" cy="1657"/>
            </a:xfrm>
            <a:prstGeom prst="line">
              <a:avLst/>
            </a:prstGeom>
            <a:ln w="6350">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6DF2A54A-7CFD-D665-183F-649186361301}"/>
              </a:ext>
            </a:extLst>
          </p:cNvPr>
          <p:cNvGrpSpPr/>
          <p:nvPr/>
        </p:nvGrpSpPr>
        <p:grpSpPr>
          <a:xfrm>
            <a:off x="4984968" y="1790549"/>
            <a:ext cx="1212672" cy="288303"/>
            <a:chOff x="1387382" y="4933447"/>
            <a:chExt cx="1212672" cy="288303"/>
          </a:xfrm>
        </p:grpSpPr>
        <p:cxnSp>
          <p:nvCxnSpPr>
            <p:cNvPr id="343" name="Straight Connector 342">
              <a:extLst>
                <a:ext uri="{FF2B5EF4-FFF2-40B4-BE49-F238E27FC236}">
                  <a16:creationId xmlns:a16="http://schemas.microsoft.com/office/drawing/2014/main" id="{164EA7C0-3E15-C90A-36E9-286BCE1AF365}"/>
                </a:ext>
              </a:extLst>
            </p:cNvPr>
            <p:cNvCxnSpPr>
              <a:cxnSpLocks/>
            </p:cNvCxnSpPr>
            <p:nvPr/>
          </p:nvCxnSpPr>
          <p:spPr>
            <a:xfrm flipV="1">
              <a:off x="1387382" y="5206755"/>
              <a:ext cx="1212672" cy="14995"/>
            </a:xfrm>
            <a:prstGeom prst="line">
              <a:avLst/>
            </a:prstGeom>
            <a:ln w="6350">
              <a:solidFill>
                <a:schemeClr val="tx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C8556AE-CAD5-17EA-C08B-4FC2A1DE2C9B}"/>
                </a:ext>
              </a:extLst>
            </p:cNvPr>
            <p:cNvCxnSpPr>
              <a:cxnSpLocks/>
            </p:cNvCxnSpPr>
            <p:nvPr/>
          </p:nvCxnSpPr>
          <p:spPr>
            <a:xfrm flipV="1">
              <a:off x="1417061" y="5068195"/>
              <a:ext cx="1129856" cy="10049"/>
            </a:xfrm>
            <a:prstGeom prst="line">
              <a:avLst/>
            </a:prstGeom>
            <a:ln w="6350">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8E2848C-5A4A-0195-BC00-5A284D17E436}"/>
                </a:ext>
              </a:extLst>
            </p:cNvPr>
            <p:cNvCxnSpPr>
              <a:cxnSpLocks/>
            </p:cNvCxnSpPr>
            <p:nvPr/>
          </p:nvCxnSpPr>
          <p:spPr>
            <a:xfrm flipV="1">
              <a:off x="1387382" y="4933447"/>
              <a:ext cx="1136466" cy="8505"/>
            </a:xfrm>
            <a:prstGeom prst="line">
              <a:avLst/>
            </a:prstGeom>
            <a:ln w="6350">
              <a:solidFill>
                <a:schemeClr val="tx2"/>
              </a:solidFill>
              <a:prstDash val="solid"/>
              <a:tailEnd type="none"/>
            </a:ln>
          </p:spPr>
          <p:style>
            <a:lnRef idx="1">
              <a:schemeClr val="accent1"/>
            </a:lnRef>
            <a:fillRef idx="0">
              <a:schemeClr val="accent1"/>
            </a:fillRef>
            <a:effectRef idx="0">
              <a:schemeClr val="accent1"/>
            </a:effectRef>
            <a:fontRef idx="minor">
              <a:schemeClr val="tx1"/>
            </a:fontRef>
          </p:style>
        </p:cxnSp>
      </p:grpSp>
      <p:sp>
        <p:nvSpPr>
          <p:cNvPr id="346" name="Rectangle 345">
            <a:extLst>
              <a:ext uri="{FF2B5EF4-FFF2-40B4-BE49-F238E27FC236}">
                <a16:creationId xmlns:a16="http://schemas.microsoft.com/office/drawing/2014/main" id="{32F8D782-7F08-2508-6418-4A0F16A4844B}"/>
              </a:ext>
            </a:extLst>
          </p:cNvPr>
          <p:cNvSpPr/>
          <p:nvPr/>
        </p:nvSpPr>
        <p:spPr>
          <a:xfrm>
            <a:off x="6409125" y="2552792"/>
            <a:ext cx="2462372" cy="4821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200"/>
              </a:spcBef>
              <a:spcAft>
                <a:spcPts val="200"/>
              </a:spcAft>
              <a:buSzPct val="75000"/>
              <a:buFont typeface="Century Gothic" panose="020B0502020202020204" pitchFamily="34" charset="0"/>
              <a:buChar char="►"/>
            </a:pPr>
            <a:r>
              <a:rPr lang="pt-BR" sz="1400" dirty="0">
                <a:solidFill>
                  <a:srgbClr val="5B5B5B"/>
                </a:solidFill>
                <a:latin typeface="+mj-lt"/>
              </a:rPr>
              <a:t>0.7 – 2.3 times / day</a:t>
            </a:r>
          </a:p>
          <a:p>
            <a:pPr marL="285750" indent="-285750">
              <a:spcBef>
                <a:spcPts val="200"/>
              </a:spcBef>
              <a:spcAft>
                <a:spcPts val="200"/>
              </a:spcAft>
              <a:buSzPct val="75000"/>
              <a:buFont typeface="Century Gothic" panose="020B0502020202020204" pitchFamily="34" charset="0"/>
              <a:buChar char="►"/>
            </a:pPr>
            <a:r>
              <a:rPr lang="pt-BR" sz="1400" dirty="0">
                <a:solidFill>
                  <a:srgbClr val="5B5B5B"/>
                </a:solidFill>
                <a:latin typeface="+mj-lt"/>
              </a:rPr>
              <a:t>3 – 15 km / trip</a:t>
            </a:r>
          </a:p>
        </p:txBody>
      </p:sp>
      <p:sp>
        <p:nvSpPr>
          <p:cNvPr id="352" name="Rectangle 351">
            <a:extLst>
              <a:ext uri="{FF2B5EF4-FFF2-40B4-BE49-F238E27FC236}">
                <a16:creationId xmlns:a16="http://schemas.microsoft.com/office/drawing/2014/main" id="{CC9B0AEC-4199-D9EE-8B18-60456557EA3A}"/>
              </a:ext>
            </a:extLst>
          </p:cNvPr>
          <p:cNvSpPr/>
          <p:nvPr/>
        </p:nvSpPr>
        <p:spPr>
          <a:xfrm>
            <a:off x="6409125" y="1442309"/>
            <a:ext cx="2462372" cy="7489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spcAft>
                <a:spcPts val="200"/>
              </a:spcAft>
              <a:buSzPct val="75000"/>
            </a:pPr>
            <a:r>
              <a:rPr lang="pt-BR" sz="1400" b="1" u="sng" dirty="0">
                <a:solidFill>
                  <a:srgbClr val="5B5B5B"/>
                </a:solidFill>
                <a:latin typeface="+mj-lt"/>
              </a:rPr>
              <a:t>Shared scheme: </a:t>
            </a:r>
          </a:p>
          <a:p>
            <a:pPr marL="285750" indent="-285750">
              <a:spcBef>
                <a:spcPts val="200"/>
              </a:spcBef>
              <a:spcAft>
                <a:spcPts val="200"/>
              </a:spcAft>
              <a:buSzPct val="75000"/>
              <a:buFont typeface="Century Gothic" panose="020B0502020202020204" pitchFamily="34" charset="0"/>
              <a:buChar char="►"/>
            </a:pPr>
            <a:r>
              <a:rPr lang="pt-BR" sz="1400" dirty="0">
                <a:solidFill>
                  <a:srgbClr val="5B5B5B"/>
                </a:solidFill>
                <a:latin typeface="+mj-lt"/>
              </a:rPr>
              <a:t>0.7 – 2.3 times / day</a:t>
            </a:r>
          </a:p>
          <a:p>
            <a:pPr marL="285750" indent="-285750">
              <a:spcBef>
                <a:spcPts val="200"/>
              </a:spcBef>
              <a:spcAft>
                <a:spcPts val="200"/>
              </a:spcAft>
              <a:buSzPct val="75000"/>
              <a:buFont typeface="Century Gothic" panose="020B0502020202020204" pitchFamily="34" charset="0"/>
              <a:buChar char="►"/>
            </a:pPr>
            <a:r>
              <a:rPr lang="en-AU" sz="1400" dirty="0">
                <a:solidFill>
                  <a:srgbClr val="5B5B5B"/>
                </a:solidFill>
                <a:latin typeface="+mj-lt"/>
              </a:rPr>
              <a:t>1.5 – 3.5 km</a:t>
            </a:r>
            <a:r>
              <a:rPr lang="pt-BR" sz="1400" dirty="0">
                <a:solidFill>
                  <a:srgbClr val="5B5B5B"/>
                </a:solidFill>
                <a:latin typeface="+mj-lt"/>
              </a:rPr>
              <a:t>/ trip</a:t>
            </a:r>
          </a:p>
        </p:txBody>
      </p:sp>
      <p:sp>
        <p:nvSpPr>
          <p:cNvPr id="12" name="Rectangle 11">
            <a:extLst>
              <a:ext uri="{FF2B5EF4-FFF2-40B4-BE49-F238E27FC236}">
                <a16:creationId xmlns:a16="http://schemas.microsoft.com/office/drawing/2014/main" id="{0A908DDB-D813-4D27-18B0-3BBCD222299B}"/>
              </a:ext>
            </a:extLst>
          </p:cNvPr>
          <p:cNvSpPr/>
          <p:nvPr/>
        </p:nvSpPr>
        <p:spPr>
          <a:xfrm>
            <a:off x="437553" y="1304606"/>
            <a:ext cx="3902749"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1400" dirty="0">
                <a:solidFill>
                  <a:schemeClr val="accent3"/>
                </a:solidFill>
                <a:latin typeface="+mj-lt"/>
              </a:rPr>
              <a:t>The two largest component of e-bike and e-scooter ownership is either private use or Shared Scheme, while e-bike share scheme is more mature</a:t>
            </a:r>
          </a:p>
        </p:txBody>
      </p:sp>
      <p:pic>
        <p:nvPicPr>
          <p:cNvPr id="31" name="Picture 30">
            <a:extLst>
              <a:ext uri="{FF2B5EF4-FFF2-40B4-BE49-F238E27FC236}">
                <a16:creationId xmlns:a16="http://schemas.microsoft.com/office/drawing/2014/main" id="{706001B2-6675-EBCE-6939-1E3CDA4BAEF1}"/>
              </a:ext>
            </a:extLst>
          </p:cNvPr>
          <p:cNvPicPr>
            <a:picLocks noChangeAspect="1"/>
          </p:cNvPicPr>
          <p:nvPr/>
        </p:nvPicPr>
        <p:blipFill>
          <a:blip r:embed="rId3"/>
          <a:stretch>
            <a:fillRect/>
          </a:stretch>
        </p:blipFill>
        <p:spPr>
          <a:xfrm>
            <a:off x="2779239" y="4273855"/>
            <a:ext cx="551222" cy="539739"/>
          </a:xfrm>
          <a:prstGeom prst="rect">
            <a:avLst/>
          </a:prstGeom>
        </p:spPr>
      </p:pic>
      <p:sp>
        <p:nvSpPr>
          <p:cNvPr id="8" name="Rectangle 7">
            <a:extLst>
              <a:ext uri="{FF2B5EF4-FFF2-40B4-BE49-F238E27FC236}">
                <a16:creationId xmlns:a16="http://schemas.microsoft.com/office/drawing/2014/main" id="{BECDC39E-5460-C2A6-5FC3-C8D02A9ACD94}"/>
              </a:ext>
            </a:extLst>
          </p:cNvPr>
          <p:cNvSpPr/>
          <p:nvPr/>
        </p:nvSpPr>
        <p:spPr>
          <a:xfrm>
            <a:off x="2491015" y="3145544"/>
            <a:ext cx="1057024" cy="80704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solidFill>
                  <a:schemeClr val="accent3"/>
                </a:solidFill>
                <a:latin typeface="+mj-lt"/>
              </a:rPr>
              <a:t>1k</a:t>
            </a:r>
          </a:p>
        </p:txBody>
      </p:sp>
      <p:sp>
        <p:nvSpPr>
          <p:cNvPr id="14" name="Rectangle 13">
            <a:extLst>
              <a:ext uri="{FF2B5EF4-FFF2-40B4-BE49-F238E27FC236}">
                <a16:creationId xmlns:a16="http://schemas.microsoft.com/office/drawing/2014/main" id="{2B1254F3-A66B-FA82-8845-CFFCCA8238B8}"/>
              </a:ext>
            </a:extLst>
          </p:cNvPr>
          <p:cNvSpPr/>
          <p:nvPr/>
        </p:nvSpPr>
        <p:spPr>
          <a:xfrm>
            <a:off x="2485482" y="2371865"/>
            <a:ext cx="1057024" cy="803612"/>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solidFill>
                  <a:schemeClr val="accent3"/>
                </a:solidFill>
              </a:rPr>
              <a:t>5k</a:t>
            </a:r>
          </a:p>
        </p:txBody>
      </p:sp>
      <p:sp>
        <p:nvSpPr>
          <p:cNvPr id="27" name="Rectangle 26">
            <a:extLst>
              <a:ext uri="{FF2B5EF4-FFF2-40B4-BE49-F238E27FC236}">
                <a16:creationId xmlns:a16="http://schemas.microsoft.com/office/drawing/2014/main" id="{0721AE40-16B9-745A-8EEB-1BF8EFFC0F17}"/>
              </a:ext>
            </a:extLst>
          </p:cNvPr>
          <p:cNvSpPr/>
          <p:nvPr/>
        </p:nvSpPr>
        <p:spPr>
          <a:xfrm>
            <a:off x="1433991" y="3159547"/>
            <a:ext cx="1057024" cy="80704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480k</a:t>
            </a:r>
          </a:p>
        </p:txBody>
      </p:sp>
      <p:sp>
        <p:nvSpPr>
          <p:cNvPr id="28" name="Rectangle 27">
            <a:extLst>
              <a:ext uri="{FF2B5EF4-FFF2-40B4-BE49-F238E27FC236}">
                <a16:creationId xmlns:a16="http://schemas.microsoft.com/office/drawing/2014/main" id="{9E4B9AA9-1810-1A4B-ECC9-70213CAE4C2B}"/>
              </a:ext>
            </a:extLst>
          </p:cNvPr>
          <p:cNvSpPr/>
          <p:nvPr/>
        </p:nvSpPr>
        <p:spPr>
          <a:xfrm>
            <a:off x="1433991" y="2352507"/>
            <a:ext cx="1057024" cy="807040"/>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970k</a:t>
            </a:r>
          </a:p>
        </p:txBody>
      </p:sp>
      <p:sp>
        <p:nvSpPr>
          <p:cNvPr id="30" name="TextBox 29">
            <a:extLst>
              <a:ext uri="{FF2B5EF4-FFF2-40B4-BE49-F238E27FC236}">
                <a16:creationId xmlns:a16="http://schemas.microsoft.com/office/drawing/2014/main" id="{8853AEC7-8D38-D206-68E3-71F22C6E01E8}"/>
              </a:ext>
            </a:extLst>
          </p:cNvPr>
          <p:cNvSpPr txBox="1"/>
          <p:nvPr/>
        </p:nvSpPr>
        <p:spPr>
          <a:xfrm>
            <a:off x="492703" y="2559464"/>
            <a:ext cx="977343" cy="323165"/>
          </a:xfrm>
          <a:prstGeom prst="rect">
            <a:avLst/>
          </a:prstGeom>
          <a:noFill/>
        </p:spPr>
        <p:txBody>
          <a:bodyPr wrap="square" rtlCol="0">
            <a:spAutoFit/>
          </a:bodyPr>
          <a:lstStyle/>
          <a:p>
            <a:pPr algn="ctr"/>
            <a:r>
              <a:rPr lang="en-AU" sz="1500"/>
              <a:t>E-bikes</a:t>
            </a:r>
          </a:p>
        </p:txBody>
      </p:sp>
      <p:sp>
        <p:nvSpPr>
          <p:cNvPr id="34" name="TextBox 33">
            <a:extLst>
              <a:ext uri="{FF2B5EF4-FFF2-40B4-BE49-F238E27FC236}">
                <a16:creationId xmlns:a16="http://schemas.microsoft.com/office/drawing/2014/main" id="{8D1D1F1E-4200-355C-830B-5052561F124E}"/>
              </a:ext>
            </a:extLst>
          </p:cNvPr>
          <p:cNvSpPr txBox="1"/>
          <p:nvPr/>
        </p:nvSpPr>
        <p:spPr>
          <a:xfrm>
            <a:off x="452863" y="3385976"/>
            <a:ext cx="1057024" cy="323165"/>
          </a:xfrm>
          <a:prstGeom prst="rect">
            <a:avLst/>
          </a:prstGeom>
          <a:noFill/>
        </p:spPr>
        <p:txBody>
          <a:bodyPr wrap="square" rtlCol="0">
            <a:spAutoFit/>
          </a:bodyPr>
          <a:lstStyle/>
          <a:p>
            <a:pPr algn="ctr"/>
            <a:r>
              <a:rPr lang="en-AU" sz="1500"/>
              <a:t>E-scooters</a:t>
            </a:r>
          </a:p>
        </p:txBody>
      </p:sp>
      <p:sp>
        <p:nvSpPr>
          <p:cNvPr id="35" name="TextBox 34">
            <a:extLst>
              <a:ext uri="{FF2B5EF4-FFF2-40B4-BE49-F238E27FC236}">
                <a16:creationId xmlns:a16="http://schemas.microsoft.com/office/drawing/2014/main" id="{F770638D-B98C-9EF4-E126-E4433A8386A1}"/>
              </a:ext>
            </a:extLst>
          </p:cNvPr>
          <p:cNvSpPr txBox="1"/>
          <p:nvPr/>
        </p:nvSpPr>
        <p:spPr>
          <a:xfrm>
            <a:off x="1475392" y="2048700"/>
            <a:ext cx="1057024" cy="323165"/>
          </a:xfrm>
          <a:prstGeom prst="rect">
            <a:avLst/>
          </a:prstGeom>
          <a:noFill/>
        </p:spPr>
        <p:txBody>
          <a:bodyPr wrap="square" rtlCol="0">
            <a:spAutoFit/>
          </a:bodyPr>
          <a:lstStyle/>
          <a:p>
            <a:pPr algn="ctr"/>
            <a:r>
              <a:rPr lang="en-AU" sz="1500"/>
              <a:t>Private</a:t>
            </a:r>
          </a:p>
        </p:txBody>
      </p:sp>
      <p:sp>
        <p:nvSpPr>
          <p:cNvPr id="36" name="TextBox 35">
            <a:extLst>
              <a:ext uri="{FF2B5EF4-FFF2-40B4-BE49-F238E27FC236}">
                <a16:creationId xmlns:a16="http://schemas.microsoft.com/office/drawing/2014/main" id="{5C176FF2-39BD-01F3-9BC7-35879B5C56A5}"/>
              </a:ext>
            </a:extLst>
          </p:cNvPr>
          <p:cNvSpPr txBox="1"/>
          <p:nvPr/>
        </p:nvSpPr>
        <p:spPr>
          <a:xfrm>
            <a:off x="2491015" y="2048700"/>
            <a:ext cx="1057024" cy="323165"/>
          </a:xfrm>
          <a:prstGeom prst="rect">
            <a:avLst/>
          </a:prstGeom>
          <a:noFill/>
        </p:spPr>
        <p:txBody>
          <a:bodyPr wrap="square" rtlCol="0">
            <a:spAutoFit/>
          </a:bodyPr>
          <a:lstStyle/>
          <a:p>
            <a:pPr algn="ctr"/>
            <a:r>
              <a:rPr lang="en-AU" sz="1500"/>
              <a:t>Shared</a:t>
            </a:r>
          </a:p>
        </p:txBody>
      </p:sp>
      <p:sp>
        <p:nvSpPr>
          <p:cNvPr id="37" name="TextBox 36">
            <a:extLst>
              <a:ext uri="{FF2B5EF4-FFF2-40B4-BE49-F238E27FC236}">
                <a16:creationId xmlns:a16="http://schemas.microsoft.com/office/drawing/2014/main" id="{C8965E67-0818-675A-8997-9E42D6B91633}"/>
              </a:ext>
            </a:extLst>
          </p:cNvPr>
          <p:cNvSpPr txBox="1"/>
          <p:nvPr/>
        </p:nvSpPr>
        <p:spPr>
          <a:xfrm>
            <a:off x="1193001" y="5351407"/>
            <a:ext cx="2865557" cy="323165"/>
          </a:xfrm>
          <a:prstGeom prst="rect">
            <a:avLst/>
          </a:prstGeom>
          <a:noFill/>
        </p:spPr>
        <p:txBody>
          <a:bodyPr wrap="square" rtlCol="0">
            <a:spAutoFit/>
          </a:bodyPr>
          <a:lstStyle/>
          <a:p>
            <a:r>
              <a:rPr lang="en-AU" sz="1500" dirty="0"/>
              <a:t>Leading operators/distributors</a:t>
            </a:r>
          </a:p>
        </p:txBody>
      </p:sp>
      <p:pic>
        <p:nvPicPr>
          <p:cNvPr id="45" name="Picture 44">
            <a:extLst>
              <a:ext uri="{FF2B5EF4-FFF2-40B4-BE49-F238E27FC236}">
                <a16:creationId xmlns:a16="http://schemas.microsoft.com/office/drawing/2014/main" id="{FE074A02-8B74-2B4E-AB24-4DD272ADD255}"/>
              </a:ext>
            </a:extLst>
          </p:cNvPr>
          <p:cNvPicPr>
            <a:picLocks noChangeAspect="1"/>
          </p:cNvPicPr>
          <p:nvPr/>
        </p:nvPicPr>
        <p:blipFill>
          <a:blip r:embed="rId4"/>
          <a:stretch>
            <a:fillRect/>
          </a:stretch>
        </p:blipFill>
        <p:spPr>
          <a:xfrm>
            <a:off x="2713053" y="4721711"/>
            <a:ext cx="705068" cy="705068"/>
          </a:xfrm>
          <a:prstGeom prst="rect">
            <a:avLst/>
          </a:prstGeom>
        </p:spPr>
      </p:pic>
      <p:sp>
        <p:nvSpPr>
          <p:cNvPr id="43" name="Flowchart: Off-page Connector 42">
            <a:extLst>
              <a:ext uri="{FF2B5EF4-FFF2-40B4-BE49-F238E27FC236}">
                <a16:creationId xmlns:a16="http://schemas.microsoft.com/office/drawing/2014/main" id="{2723C6BA-C2C9-A8E9-7661-DBE169000C1A}"/>
              </a:ext>
            </a:extLst>
          </p:cNvPr>
          <p:cNvSpPr/>
          <p:nvPr/>
        </p:nvSpPr>
        <p:spPr>
          <a:xfrm rot="10800000">
            <a:off x="1626784" y="4017969"/>
            <a:ext cx="671433" cy="1226713"/>
          </a:xfrm>
          <a:prstGeom prst="flowChartOffpageConnector">
            <a:avLst/>
          </a:prstGeom>
          <a:solidFill>
            <a:schemeClr val="accent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1" name="Picture 40">
            <a:extLst>
              <a:ext uri="{FF2B5EF4-FFF2-40B4-BE49-F238E27FC236}">
                <a16:creationId xmlns:a16="http://schemas.microsoft.com/office/drawing/2014/main" id="{E8A47D11-A717-00AB-A661-C8E4185384B0}"/>
              </a:ext>
            </a:extLst>
          </p:cNvPr>
          <p:cNvPicPr>
            <a:picLocks noChangeAspect="1"/>
          </p:cNvPicPr>
          <p:nvPr/>
        </p:nvPicPr>
        <p:blipFill>
          <a:blip r:embed="rId5"/>
          <a:stretch>
            <a:fillRect/>
          </a:stretch>
        </p:blipFill>
        <p:spPr>
          <a:xfrm>
            <a:off x="1410350" y="4333233"/>
            <a:ext cx="1057024" cy="291306"/>
          </a:xfrm>
          <a:prstGeom prst="rect">
            <a:avLst/>
          </a:prstGeom>
        </p:spPr>
      </p:pic>
      <p:pic>
        <p:nvPicPr>
          <p:cNvPr id="56" name="Picture 55">
            <a:extLst>
              <a:ext uri="{FF2B5EF4-FFF2-40B4-BE49-F238E27FC236}">
                <a16:creationId xmlns:a16="http://schemas.microsoft.com/office/drawing/2014/main" id="{5EB01E98-D3F8-F367-EE85-922CA8D059D7}"/>
              </a:ext>
            </a:extLst>
          </p:cNvPr>
          <p:cNvPicPr>
            <a:picLocks noChangeAspect="1"/>
          </p:cNvPicPr>
          <p:nvPr/>
        </p:nvPicPr>
        <p:blipFill>
          <a:blip r:embed="rId6"/>
          <a:stretch>
            <a:fillRect/>
          </a:stretch>
        </p:blipFill>
        <p:spPr>
          <a:xfrm>
            <a:off x="1457606" y="4765827"/>
            <a:ext cx="971737" cy="291306"/>
          </a:xfrm>
          <a:prstGeom prst="rect">
            <a:avLst/>
          </a:prstGeom>
        </p:spPr>
      </p:pic>
      <p:sp>
        <p:nvSpPr>
          <p:cNvPr id="47" name="Rectangle 46">
            <a:extLst>
              <a:ext uri="{FF2B5EF4-FFF2-40B4-BE49-F238E27FC236}">
                <a16:creationId xmlns:a16="http://schemas.microsoft.com/office/drawing/2014/main" id="{AF7F0DD7-0A10-2188-2B92-9CCE69F0B10E}"/>
              </a:ext>
            </a:extLst>
          </p:cNvPr>
          <p:cNvSpPr/>
          <p:nvPr/>
        </p:nvSpPr>
        <p:spPr>
          <a:xfrm>
            <a:off x="4695788" y="3630580"/>
            <a:ext cx="3960000" cy="264412"/>
          </a:xfrm>
          <a:prstGeom prst="rect">
            <a:avLst/>
          </a:prstGeom>
          <a:solidFill>
            <a:schemeClr val="tx1">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a:solidFill>
                  <a:srgbClr val="FFFFFF"/>
                </a:solidFill>
                <a:latin typeface="+mj-lt"/>
              </a:rPr>
              <a:t>Conversion to private use</a:t>
            </a:r>
          </a:p>
        </p:txBody>
      </p:sp>
      <p:sp>
        <p:nvSpPr>
          <p:cNvPr id="54" name="Rectangle 53">
            <a:extLst>
              <a:ext uri="{FF2B5EF4-FFF2-40B4-BE49-F238E27FC236}">
                <a16:creationId xmlns:a16="http://schemas.microsoft.com/office/drawing/2014/main" id="{C5D40479-6074-267B-CA3D-CDA3D1439866}"/>
              </a:ext>
            </a:extLst>
          </p:cNvPr>
          <p:cNvSpPr/>
          <p:nvPr/>
        </p:nvSpPr>
        <p:spPr>
          <a:xfrm>
            <a:off x="5263648" y="4029563"/>
            <a:ext cx="3902749" cy="5206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1400">
                <a:solidFill>
                  <a:schemeClr val="accent3"/>
                </a:solidFill>
                <a:latin typeface="+mj-lt"/>
              </a:rPr>
              <a:t>Difficult to source private use statistics</a:t>
            </a:r>
          </a:p>
          <a:p>
            <a:pPr>
              <a:spcBef>
                <a:spcPts val="300"/>
              </a:spcBef>
              <a:spcAft>
                <a:spcPts val="400"/>
              </a:spcAft>
              <a:buSzPct val="75000"/>
            </a:pPr>
            <a:r>
              <a:rPr lang="en-AU" sz="1400" b="1">
                <a:solidFill>
                  <a:schemeClr val="accent3"/>
                </a:solidFill>
                <a:latin typeface="+mj-lt"/>
              </a:rPr>
              <a:t>Frequency of usage: </a:t>
            </a:r>
          </a:p>
        </p:txBody>
      </p:sp>
      <p:cxnSp>
        <p:nvCxnSpPr>
          <p:cNvPr id="55" name="Straight Connector 54">
            <a:extLst>
              <a:ext uri="{FF2B5EF4-FFF2-40B4-BE49-F238E27FC236}">
                <a16:creationId xmlns:a16="http://schemas.microsoft.com/office/drawing/2014/main" id="{B8E22C62-F7C9-7CC9-6027-D3978657D210}"/>
              </a:ext>
            </a:extLst>
          </p:cNvPr>
          <p:cNvCxnSpPr/>
          <p:nvPr/>
        </p:nvCxnSpPr>
        <p:spPr>
          <a:xfrm>
            <a:off x="8980635" y="942530"/>
            <a:ext cx="0" cy="5322459"/>
          </a:xfrm>
          <a:prstGeom prst="line">
            <a:avLst/>
          </a:prstGeom>
          <a:ln>
            <a:solidFill>
              <a:schemeClr val="accent2">
                <a:lumMod val="75000"/>
                <a:lumOff val="25000"/>
              </a:schemeClr>
            </a:solidFill>
            <a:prstDash val="lgDashDot"/>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E7B85748-83D3-C02F-7DEF-AF055D1DE7E6}"/>
              </a:ext>
            </a:extLst>
          </p:cNvPr>
          <p:cNvSpPr/>
          <p:nvPr/>
        </p:nvSpPr>
        <p:spPr>
          <a:xfrm>
            <a:off x="9116300" y="979074"/>
            <a:ext cx="2700000" cy="26441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a:solidFill>
                  <a:srgbClr val="FFFFFF"/>
                </a:solidFill>
                <a:latin typeface="+mj-lt"/>
              </a:rPr>
              <a:t>Estimated exposure</a:t>
            </a:r>
          </a:p>
        </p:txBody>
      </p:sp>
      <p:sp>
        <p:nvSpPr>
          <p:cNvPr id="64" name="Rectangle 63">
            <a:extLst>
              <a:ext uri="{FF2B5EF4-FFF2-40B4-BE49-F238E27FC236}">
                <a16:creationId xmlns:a16="http://schemas.microsoft.com/office/drawing/2014/main" id="{00C2BBA1-DB7F-271E-BB25-DEA5696F535E}"/>
              </a:ext>
            </a:extLst>
          </p:cNvPr>
          <p:cNvSpPr/>
          <p:nvPr/>
        </p:nvSpPr>
        <p:spPr>
          <a:xfrm>
            <a:off x="5271082" y="5321302"/>
            <a:ext cx="3902749"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1400" b="1">
                <a:solidFill>
                  <a:schemeClr val="accent3"/>
                </a:solidFill>
                <a:latin typeface="+mj-lt"/>
              </a:rPr>
              <a:t>Average distance travelled: </a:t>
            </a:r>
          </a:p>
        </p:txBody>
      </p:sp>
      <p:sp>
        <p:nvSpPr>
          <p:cNvPr id="65" name="Rectangle 64">
            <a:extLst>
              <a:ext uri="{FF2B5EF4-FFF2-40B4-BE49-F238E27FC236}">
                <a16:creationId xmlns:a16="http://schemas.microsoft.com/office/drawing/2014/main" id="{F9BD3877-A0F9-2F03-9887-981FDD957002}"/>
              </a:ext>
            </a:extLst>
          </p:cNvPr>
          <p:cNvSpPr/>
          <p:nvPr/>
        </p:nvSpPr>
        <p:spPr>
          <a:xfrm>
            <a:off x="6349160" y="4657583"/>
            <a:ext cx="1916128" cy="55399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3600" b="1">
                <a:solidFill>
                  <a:schemeClr val="accent3"/>
                </a:solidFill>
                <a:latin typeface="+mj-lt"/>
              </a:rPr>
              <a:t>2 ~ 3 : 1</a:t>
            </a:r>
          </a:p>
        </p:txBody>
      </p:sp>
      <p:sp>
        <p:nvSpPr>
          <p:cNvPr id="66" name="Rectangle 65">
            <a:extLst>
              <a:ext uri="{FF2B5EF4-FFF2-40B4-BE49-F238E27FC236}">
                <a16:creationId xmlns:a16="http://schemas.microsoft.com/office/drawing/2014/main" id="{8BECE783-1D20-E3F6-1CC6-BE51F5950667}"/>
              </a:ext>
            </a:extLst>
          </p:cNvPr>
          <p:cNvSpPr/>
          <p:nvPr/>
        </p:nvSpPr>
        <p:spPr>
          <a:xfrm>
            <a:off x="5664265" y="5701851"/>
            <a:ext cx="2761283" cy="55399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3600" b="1">
                <a:solidFill>
                  <a:schemeClr val="accent3"/>
                </a:solidFill>
                <a:latin typeface="+mj-lt"/>
              </a:rPr>
              <a:t>0.8 ~ 1.5 : 1</a:t>
            </a:r>
          </a:p>
        </p:txBody>
      </p:sp>
      <p:sp>
        <p:nvSpPr>
          <p:cNvPr id="68" name="Rectangle 67">
            <a:extLst>
              <a:ext uri="{FF2B5EF4-FFF2-40B4-BE49-F238E27FC236}">
                <a16:creationId xmlns:a16="http://schemas.microsoft.com/office/drawing/2014/main" id="{05AFE285-C086-5466-C574-675CEC0258CD}"/>
              </a:ext>
            </a:extLst>
          </p:cNvPr>
          <p:cNvSpPr/>
          <p:nvPr/>
        </p:nvSpPr>
        <p:spPr>
          <a:xfrm>
            <a:off x="9116301" y="1369881"/>
            <a:ext cx="2680060" cy="19569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1400" dirty="0">
                <a:solidFill>
                  <a:schemeClr val="accent3"/>
                </a:solidFill>
                <a:latin typeface="+mj-lt"/>
              </a:rPr>
              <a:t>Annual km travelled by e-bikes and e-scooters: </a:t>
            </a:r>
          </a:p>
          <a:p>
            <a:pPr>
              <a:spcBef>
                <a:spcPts val="300"/>
              </a:spcBef>
              <a:spcAft>
                <a:spcPts val="400"/>
              </a:spcAft>
              <a:buSzPct val="75000"/>
            </a:pPr>
            <a:r>
              <a:rPr lang="en-AU" sz="1400" b="1" dirty="0">
                <a:solidFill>
                  <a:schemeClr val="accent3"/>
                </a:solidFill>
                <a:latin typeface="+mj-lt"/>
              </a:rPr>
              <a:t>E-bikes</a:t>
            </a:r>
          </a:p>
          <a:p>
            <a:pPr>
              <a:spcBef>
                <a:spcPts val="300"/>
              </a:spcBef>
              <a:spcAft>
                <a:spcPts val="400"/>
              </a:spcAft>
              <a:buSzPct val="75000"/>
            </a:pPr>
            <a:endParaRPr lang="en-AU" sz="1400" b="1" dirty="0">
              <a:solidFill>
                <a:schemeClr val="accent3"/>
              </a:solidFill>
              <a:latin typeface="+mj-lt"/>
            </a:endParaRPr>
          </a:p>
          <a:p>
            <a:pPr>
              <a:spcBef>
                <a:spcPts val="300"/>
              </a:spcBef>
              <a:spcAft>
                <a:spcPts val="400"/>
              </a:spcAft>
              <a:buSzPct val="75000"/>
            </a:pPr>
            <a:endParaRPr lang="en-AU" sz="1400" b="1" dirty="0">
              <a:solidFill>
                <a:schemeClr val="accent3"/>
              </a:solidFill>
              <a:latin typeface="+mj-lt"/>
            </a:endParaRPr>
          </a:p>
          <a:p>
            <a:pPr>
              <a:spcBef>
                <a:spcPts val="300"/>
              </a:spcBef>
              <a:spcAft>
                <a:spcPts val="400"/>
              </a:spcAft>
              <a:buSzPct val="75000"/>
            </a:pPr>
            <a:endParaRPr lang="en-AU" sz="1400" b="1" dirty="0">
              <a:solidFill>
                <a:schemeClr val="accent3"/>
              </a:solidFill>
              <a:latin typeface="+mj-lt"/>
            </a:endParaRPr>
          </a:p>
          <a:p>
            <a:pPr>
              <a:spcBef>
                <a:spcPts val="300"/>
              </a:spcBef>
              <a:spcAft>
                <a:spcPts val="400"/>
              </a:spcAft>
              <a:buSzPct val="75000"/>
            </a:pPr>
            <a:r>
              <a:rPr lang="en-AU" sz="1400" b="1" dirty="0">
                <a:solidFill>
                  <a:schemeClr val="accent3"/>
                </a:solidFill>
                <a:latin typeface="+mj-lt"/>
              </a:rPr>
              <a:t>E-scooters</a:t>
            </a:r>
          </a:p>
        </p:txBody>
      </p:sp>
      <p:sp>
        <p:nvSpPr>
          <p:cNvPr id="69" name="Rectangle 68">
            <a:extLst>
              <a:ext uri="{FF2B5EF4-FFF2-40B4-BE49-F238E27FC236}">
                <a16:creationId xmlns:a16="http://schemas.microsoft.com/office/drawing/2014/main" id="{503E681F-6A71-2F9F-0BCC-574682DE2194}"/>
              </a:ext>
            </a:extLst>
          </p:cNvPr>
          <p:cNvSpPr/>
          <p:nvPr/>
        </p:nvSpPr>
        <p:spPr>
          <a:xfrm>
            <a:off x="9361600" y="2316717"/>
            <a:ext cx="2673569" cy="55399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3600" b="1" dirty="0">
                <a:solidFill>
                  <a:schemeClr val="accent1"/>
                </a:solidFill>
                <a:latin typeface="+mj-lt"/>
              </a:rPr>
              <a:t>~520km/year</a:t>
            </a:r>
          </a:p>
        </p:txBody>
      </p:sp>
      <p:sp>
        <p:nvSpPr>
          <p:cNvPr id="70" name="Rectangle 69">
            <a:extLst>
              <a:ext uri="{FF2B5EF4-FFF2-40B4-BE49-F238E27FC236}">
                <a16:creationId xmlns:a16="http://schemas.microsoft.com/office/drawing/2014/main" id="{BCC08E1C-5FB3-AC22-7929-4698BC869AD5}"/>
              </a:ext>
            </a:extLst>
          </p:cNvPr>
          <p:cNvSpPr/>
          <p:nvPr/>
        </p:nvSpPr>
        <p:spPr>
          <a:xfrm>
            <a:off x="9381541" y="3471685"/>
            <a:ext cx="2653628" cy="55399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3600" b="1" dirty="0">
                <a:solidFill>
                  <a:schemeClr val="accent1"/>
                </a:solidFill>
                <a:latin typeface="+mj-lt"/>
              </a:rPr>
              <a:t>~500km/year</a:t>
            </a:r>
          </a:p>
        </p:txBody>
      </p:sp>
      <p:sp>
        <p:nvSpPr>
          <p:cNvPr id="71" name="Rectangle 70">
            <a:extLst>
              <a:ext uri="{FF2B5EF4-FFF2-40B4-BE49-F238E27FC236}">
                <a16:creationId xmlns:a16="http://schemas.microsoft.com/office/drawing/2014/main" id="{DC1C9E52-AC08-D7F9-BD7C-07F1EBC39F41}"/>
              </a:ext>
            </a:extLst>
          </p:cNvPr>
          <p:cNvSpPr/>
          <p:nvPr/>
        </p:nvSpPr>
        <p:spPr>
          <a:xfrm>
            <a:off x="9126270" y="4244835"/>
            <a:ext cx="2680060" cy="5206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1400" dirty="0">
                <a:solidFill>
                  <a:schemeClr val="accent3"/>
                </a:solidFill>
                <a:latin typeface="+mj-lt"/>
              </a:rPr>
              <a:t>By comparison:</a:t>
            </a:r>
          </a:p>
          <a:p>
            <a:pPr>
              <a:spcBef>
                <a:spcPts val="300"/>
              </a:spcBef>
              <a:spcAft>
                <a:spcPts val="400"/>
              </a:spcAft>
              <a:buSzPct val="75000"/>
            </a:pPr>
            <a:endParaRPr lang="en-AU" sz="1400" b="1" dirty="0">
              <a:solidFill>
                <a:schemeClr val="accent3"/>
              </a:solidFill>
              <a:latin typeface="+mj-lt"/>
            </a:endParaRPr>
          </a:p>
        </p:txBody>
      </p:sp>
      <p:pic>
        <p:nvPicPr>
          <p:cNvPr id="73" name="Graphic 72" descr="Convertible with solid fill">
            <a:extLst>
              <a:ext uri="{FF2B5EF4-FFF2-40B4-BE49-F238E27FC236}">
                <a16:creationId xmlns:a16="http://schemas.microsoft.com/office/drawing/2014/main" id="{CCD1BEB7-0F76-B2FF-AAD0-EBCE417AA5B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04881" y="5718090"/>
            <a:ext cx="540000" cy="540000"/>
          </a:xfrm>
          <a:prstGeom prst="rect">
            <a:avLst/>
          </a:prstGeom>
        </p:spPr>
      </p:pic>
      <p:pic>
        <p:nvPicPr>
          <p:cNvPr id="75" name="Graphic 74" descr="Motorcycle with solid fill">
            <a:extLst>
              <a:ext uri="{FF2B5EF4-FFF2-40B4-BE49-F238E27FC236}">
                <a16:creationId xmlns:a16="http://schemas.microsoft.com/office/drawing/2014/main" id="{6221F9B1-CABA-5A6D-7FF8-E4AA04D4582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69985" y="5122266"/>
            <a:ext cx="540000" cy="540000"/>
          </a:xfrm>
          <a:prstGeom prst="rect">
            <a:avLst/>
          </a:prstGeom>
        </p:spPr>
      </p:pic>
      <p:sp>
        <p:nvSpPr>
          <p:cNvPr id="5" name="Rectangle 4">
            <a:extLst>
              <a:ext uri="{FF2B5EF4-FFF2-40B4-BE49-F238E27FC236}">
                <a16:creationId xmlns:a16="http://schemas.microsoft.com/office/drawing/2014/main" id="{E417A3F8-4552-AC9F-56C0-B13F635A1B8B}"/>
              </a:ext>
            </a:extLst>
          </p:cNvPr>
          <p:cNvSpPr>
            <a:spLocks/>
          </p:cNvSpPr>
          <p:nvPr/>
        </p:nvSpPr>
        <p:spPr>
          <a:xfrm>
            <a:off x="9959132" y="5797891"/>
            <a:ext cx="2015710" cy="3077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2000" b="1" dirty="0">
                <a:solidFill>
                  <a:schemeClr val="accent3"/>
                </a:solidFill>
                <a:latin typeface="+mj-lt"/>
              </a:rPr>
              <a:t>11,200 km/year</a:t>
            </a:r>
          </a:p>
        </p:txBody>
      </p:sp>
      <p:sp>
        <p:nvSpPr>
          <p:cNvPr id="6" name="Rectangle 5">
            <a:extLst>
              <a:ext uri="{FF2B5EF4-FFF2-40B4-BE49-F238E27FC236}">
                <a16:creationId xmlns:a16="http://schemas.microsoft.com/office/drawing/2014/main" id="{BDD57FDC-0DA5-2CC9-2C0A-39B4C9A07A33}"/>
              </a:ext>
            </a:extLst>
          </p:cNvPr>
          <p:cNvSpPr>
            <a:spLocks/>
          </p:cNvSpPr>
          <p:nvPr/>
        </p:nvSpPr>
        <p:spPr>
          <a:xfrm>
            <a:off x="10081984" y="5228969"/>
            <a:ext cx="1953185" cy="3077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2000" b="1" dirty="0">
                <a:solidFill>
                  <a:schemeClr val="accent3"/>
                </a:solidFill>
                <a:latin typeface="+mj-lt"/>
              </a:rPr>
              <a:t>1,900 km/year</a:t>
            </a:r>
          </a:p>
        </p:txBody>
      </p:sp>
      <p:pic>
        <p:nvPicPr>
          <p:cNvPr id="18" name="Picture 17">
            <a:extLst>
              <a:ext uri="{FF2B5EF4-FFF2-40B4-BE49-F238E27FC236}">
                <a16:creationId xmlns:a16="http://schemas.microsoft.com/office/drawing/2014/main" id="{A00F0B6C-2FA1-7B49-193E-6570B27A915D}"/>
              </a:ext>
            </a:extLst>
          </p:cNvPr>
          <p:cNvPicPr>
            <a:picLocks noChangeAspect="1"/>
          </p:cNvPicPr>
          <p:nvPr/>
        </p:nvPicPr>
        <p:blipFill>
          <a:blip r:embed="rId11">
            <a:duotone>
              <a:schemeClr val="accent1">
                <a:shade val="45000"/>
                <a:satMod val="135000"/>
              </a:schemeClr>
              <a:prstClr val="white"/>
            </a:duotone>
          </a:blip>
          <a:stretch>
            <a:fillRect/>
          </a:stretch>
        </p:blipFill>
        <p:spPr>
          <a:xfrm>
            <a:off x="5477492" y="2361459"/>
            <a:ext cx="627788" cy="627788"/>
          </a:xfrm>
          <a:prstGeom prst="rect">
            <a:avLst/>
          </a:prstGeom>
          <a:ln>
            <a:noFill/>
          </a:ln>
        </p:spPr>
      </p:pic>
      <p:pic>
        <p:nvPicPr>
          <p:cNvPr id="20" name="Picture 19">
            <a:extLst>
              <a:ext uri="{FF2B5EF4-FFF2-40B4-BE49-F238E27FC236}">
                <a16:creationId xmlns:a16="http://schemas.microsoft.com/office/drawing/2014/main" id="{912C27B8-D89D-6609-5EB0-4F3A6984E3D0}"/>
              </a:ext>
            </a:extLst>
          </p:cNvPr>
          <p:cNvPicPr>
            <a:picLocks noChangeAspect="1"/>
          </p:cNvPicPr>
          <p:nvPr/>
        </p:nvPicPr>
        <p:blipFill>
          <a:blip r:embed="rId12">
            <a:duotone>
              <a:schemeClr val="accent1">
                <a:shade val="45000"/>
                <a:satMod val="135000"/>
              </a:schemeClr>
              <a:prstClr val="white"/>
            </a:duotone>
          </a:blip>
          <a:stretch>
            <a:fillRect/>
          </a:stretch>
        </p:blipFill>
        <p:spPr>
          <a:xfrm>
            <a:off x="5544781" y="1527596"/>
            <a:ext cx="597683" cy="597683"/>
          </a:xfrm>
          <a:prstGeom prst="rect">
            <a:avLst/>
          </a:prstGeom>
        </p:spPr>
      </p:pic>
      <p:pic>
        <p:nvPicPr>
          <p:cNvPr id="21" name="Graphic 20" descr="Tricycle with solid fill">
            <a:extLst>
              <a:ext uri="{FF2B5EF4-FFF2-40B4-BE49-F238E27FC236}">
                <a16:creationId xmlns:a16="http://schemas.microsoft.com/office/drawing/2014/main" id="{E7EEEBC2-4072-CB6A-3DBA-2F77A1598CB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169985" y="4566030"/>
            <a:ext cx="540000" cy="540000"/>
          </a:xfrm>
          <a:prstGeom prst="rect">
            <a:avLst/>
          </a:prstGeom>
        </p:spPr>
      </p:pic>
      <p:sp>
        <p:nvSpPr>
          <p:cNvPr id="22" name="Rectangle 21">
            <a:extLst>
              <a:ext uri="{FF2B5EF4-FFF2-40B4-BE49-F238E27FC236}">
                <a16:creationId xmlns:a16="http://schemas.microsoft.com/office/drawing/2014/main" id="{CDE18AF9-16C1-D7BE-A5D1-7484D2E4F95D}"/>
              </a:ext>
            </a:extLst>
          </p:cNvPr>
          <p:cNvSpPr>
            <a:spLocks/>
          </p:cNvSpPr>
          <p:nvPr/>
        </p:nvSpPr>
        <p:spPr>
          <a:xfrm>
            <a:off x="10081983" y="4657583"/>
            <a:ext cx="1953185" cy="3077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2000" b="1" dirty="0">
                <a:solidFill>
                  <a:schemeClr val="accent3"/>
                </a:solidFill>
                <a:latin typeface="+mj-lt"/>
              </a:rPr>
              <a:t>1,000 km/year</a:t>
            </a:r>
          </a:p>
        </p:txBody>
      </p:sp>
      <p:grpSp>
        <p:nvGrpSpPr>
          <p:cNvPr id="23" name="Group 22">
            <a:extLst>
              <a:ext uri="{FF2B5EF4-FFF2-40B4-BE49-F238E27FC236}">
                <a16:creationId xmlns:a16="http://schemas.microsoft.com/office/drawing/2014/main" id="{BAB622D3-513D-BB62-7A5D-487CD0C06F71}"/>
              </a:ext>
            </a:extLst>
          </p:cNvPr>
          <p:cNvGrpSpPr/>
          <p:nvPr/>
        </p:nvGrpSpPr>
        <p:grpSpPr>
          <a:xfrm>
            <a:off x="12346840" y="3175477"/>
            <a:ext cx="3593381" cy="3287474"/>
            <a:chOff x="488017" y="3213574"/>
            <a:chExt cx="3593381" cy="3287474"/>
          </a:xfrm>
        </p:grpSpPr>
        <p:grpSp>
          <p:nvGrpSpPr>
            <p:cNvPr id="24" name="Group 23">
              <a:extLst>
                <a:ext uri="{FF2B5EF4-FFF2-40B4-BE49-F238E27FC236}">
                  <a16:creationId xmlns:a16="http://schemas.microsoft.com/office/drawing/2014/main" id="{98C69089-D356-4DF0-7724-080D63AF43FB}"/>
                </a:ext>
              </a:extLst>
            </p:cNvPr>
            <p:cNvGrpSpPr/>
            <p:nvPr/>
          </p:nvGrpSpPr>
          <p:grpSpPr>
            <a:xfrm>
              <a:off x="1091367" y="3401561"/>
              <a:ext cx="2990031" cy="3044598"/>
              <a:chOff x="346073" y="3327481"/>
              <a:chExt cx="2742209" cy="3044598"/>
            </a:xfrm>
          </p:grpSpPr>
          <p:grpSp>
            <p:nvGrpSpPr>
              <p:cNvPr id="33" name="Group 32">
                <a:extLst>
                  <a:ext uri="{FF2B5EF4-FFF2-40B4-BE49-F238E27FC236}">
                    <a16:creationId xmlns:a16="http://schemas.microsoft.com/office/drawing/2014/main" id="{5F667899-8ECA-9786-4FA9-6B8DD6AB277F}"/>
                  </a:ext>
                </a:extLst>
              </p:cNvPr>
              <p:cNvGrpSpPr/>
              <p:nvPr/>
            </p:nvGrpSpPr>
            <p:grpSpPr>
              <a:xfrm>
                <a:off x="346073" y="3327481"/>
                <a:ext cx="2075711" cy="3044598"/>
                <a:chOff x="762638" y="2270257"/>
                <a:chExt cx="1980275" cy="2949066"/>
              </a:xfrm>
            </p:grpSpPr>
            <p:grpSp>
              <p:nvGrpSpPr>
                <p:cNvPr id="50" name="Group 49">
                  <a:extLst>
                    <a:ext uri="{FF2B5EF4-FFF2-40B4-BE49-F238E27FC236}">
                      <a16:creationId xmlns:a16="http://schemas.microsoft.com/office/drawing/2014/main" id="{5C6B6888-27F2-B105-210A-FD153D498877}"/>
                    </a:ext>
                  </a:extLst>
                </p:cNvPr>
                <p:cNvGrpSpPr/>
                <p:nvPr/>
              </p:nvGrpSpPr>
              <p:grpSpPr>
                <a:xfrm>
                  <a:off x="762638" y="2270257"/>
                  <a:ext cx="1848707" cy="2883204"/>
                  <a:chOff x="472976" y="1866471"/>
                  <a:chExt cx="2788515" cy="4418200"/>
                </a:xfrm>
              </p:grpSpPr>
              <p:pic>
                <p:nvPicPr>
                  <p:cNvPr id="60" name="Graphic 59" descr="City outline">
                    <a:extLst>
                      <a:ext uri="{FF2B5EF4-FFF2-40B4-BE49-F238E27FC236}">
                        <a16:creationId xmlns:a16="http://schemas.microsoft.com/office/drawing/2014/main" id="{900101EB-D159-D943-5BBA-DCC80AE317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72044" y="5530046"/>
                    <a:ext cx="754625" cy="754625"/>
                  </a:xfrm>
                  <a:prstGeom prst="rect">
                    <a:avLst/>
                  </a:prstGeom>
                </p:spPr>
              </p:pic>
              <p:pic>
                <p:nvPicPr>
                  <p:cNvPr id="61" name="Graphic 60" descr="Polaroid Pictures outline">
                    <a:extLst>
                      <a:ext uri="{FF2B5EF4-FFF2-40B4-BE49-F238E27FC236}">
                        <a16:creationId xmlns:a16="http://schemas.microsoft.com/office/drawing/2014/main" id="{66AC6963-57F3-E3D4-0E4A-95CEBFDDF93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463107" y="1866471"/>
                    <a:ext cx="680307" cy="680305"/>
                  </a:xfrm>
                  <a:prstGeom prst="rect">
                    <a:avLst/>
                  </a:prstGeom>
                </p:spPr>
              </p:pic>
              <p:pic>
                <p:nvPicPr>
                  <p:cNvPr id="62" name="Graphic 61" descr="Train outline">
                    <a:extLst>
                      <a:ext uri="{FF2B5EF4-FFF2-40B4-BE49-F238E27FC236}">
                        <a16:creationId xmlns:a16="http://schemas.microsoft.com/office/drawing/2014/main" id="{0F4A9846-5211-4204-146C-788C70512DE5}"/>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506867" y="4482810"/>
                    <a:ext cx="754624" cy="754623"/>
                  </a:xfrm>
                  <a:prstGeom prst="rect">
                    <a:avLst/>
                  </a:prstGeom>
                </p:spPr>
              </p:pic>
              <p:pic>
                <p:nvPicPr>
                  <p:cNvPr id="63" name="Graphic 62" descr="Grocery bag outline">
                    <a:extLst>
                      <a:ext uri="{FF2B5EF4-FFF2-40B4-BE49-F238E27FC236}">
                        <a16:creationId xmlns:a16="http://schemas.microsoft.com/office/drawing/2014/main" id="{AC6F685F-3D40-FEF3-21DF-4FE2FD341BEF}"/>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463109" y="2802404"/>
                    <a:ext cx="681139" cy="681140"/>
                  </a:xfrm>
                  <a:prstGeom prst="rect">
                    <a:avLst/>
                  </a:prstGeom>
                </p:spPr>
              </p:pic>
              <p:pic>
                <p:nvPicPr>
                  <p:cNvPr id="67" name="Graphic 66" descr="Dance outline">
                    <a:extLst>
                      <a:ext uri="{FF2B5EF4-FFF2-40B4-BE49-F238E27FC236}">
                        <a16:creationId xmlns:a16="http://schemas.microsoft.com/office/drawing/2014/main" id="{59645B9B-F7D6-22C4-E86A-447627C804AB}"/>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481503" y="3619301"/>
                    <a:ext cx="681141" cy="681141"/>
                  </a:xfrm>
                  <a:prstGeom prst="rect">
                    <a:avLst/>
                  </a:prstGeom>
                </p:spPr>
              </p:pic>
              <p:sp>
                <p:nvSpPr>
                  <p:cNvPr id="72" name="Freeform: Shape 71">
                    <a:extLst>
                      <a:ext uri="{FF2B5EF4-FFF2-40B4-BE49-F238E27FC236}">
                        <a16:creationId xmlns:a16="http://schemas.microsoft.com/office/drawing/2014/main" id="{C2CE4E38-20FA-BE6D-AC1B-9998EFB859DB}"/>
                      </a:ext>
                    </a:extLst>
                  </p:cNvPr>
                  <p:cNvSpPr/>
                  <p:nvPr/>
                </p:nvSpPr>
                <p:spPr>
                  <a:xfrm>
                    <a:off x="472976" y="3641465"/>
                    <a:ext cx="595112" cy="557922"/>
                  </a:xfrm>
                  <a:custGeom>
                    <a:avLst/>
                    <a:gdLst>
                      <a:gd name="connsiteX0" fmla="*/ 0 w 789293"/>
                      <a:gd name="connsiteY0" fmla="*/ 374911 h 699162"/>
                      <a:gd name="connsiteX1" fmla="*/ 61811 w 789293"/>
                      <a:gd name="connsiteY1" fmla="*/ 436707 h 699162"/>
                      <a:gd name="connsiteX2" fmla="*/ 108896 w 789293"/>
                      <a:gd name="connsiteY2" fmla="*/ 392119 h 699162"/>
                      <a:gd name="connsiteX3" fmla="*/ 108896 w 789293"/>
                      <a:gd name="connsiteY3" fmla="*/ 698933 h 699162"/>
                      <a:gd name="connsiteX4" fmla="*/ 347049 w 789293"/>
                      <a:gd name="connsiteY4" fmla="*/ 699028 h 699162"/>
                      <a:gd name="connsiteX5" fmla="*/ 347049 w 789293"/>
                      <a:gd name="connsiteY5" fmla="*/ 461189 h 699162"/>
                      <a:gd name="connsiteX6" fmla="*/ 442299 w 789293"/>
                      <a:gd name="connsiteY6" fmla="*/ 461189 h 699162"/>
                      <a:gd name="connsiteX7" fmla="*/ 442299 w 789293"/>
                      <a:gd name="connsiteY7" fmla="*/ 699067 h 699162"/>
                      <a:gd name="connsiteX8" fmla="*/ 680396 w 789293"/>
                      <a:gd name="connsiteY8" fmla="*/ 699163 h 699162"/>
                      <a:gd name="connsiteX9" fmla="*/ 680396 w 789293"/>
                      <a:gd name="connsiteY9" fmla="*/ 391713 h 699162"/>
                      <a:gd name="connsiteX10" fmla="*/ 727735 w 789293"/>
                      <a:gd name="connsiteY10" fmla="*/ 436480 h 699162"/>
                      <a:gd name="connsiteX11" fmla="*/ 789294 w 789293"/>
                      <a:gd name="connsiteY11" fmla="*/ 374912 h 699162"/>
                      <a:gd name="connsiteX12" fmla="*/ 394673 w 789293"/>
                      <a:gd name="connsiteY12" fmla="*/ 0 h 699162"/>
                      <a:gd name="connsiteX13" fmla="*/ 661346 w 789293"/>
                      <a:gd name="connsiteY13" fmla="*/ 680106 h 699162"/>
                      <a:gd name="connsiteX14" fmla="*/ 461349 w 789293"/>
                      <a:gd name="connsiteY14" fmla="*/ 680027 h 699162"/>
                      <a:gd name="connsiteX15" fmla="*/ 461349 w 789293"/>
                      <a:gd name="connsiteY15" fmla="*/ 442139 h 699162"/>
                      <a:gd name="connsiteX16" fmla="*/ 327999 w 789293"/>
                      <a:gd name="connsiteY16" fmla="*/ 442139 h 699162"/>
                      <a:gd name="connsiteX17" fmla="*/ 327999 w 789293"/>
                      <a:gd name="connsiteY17" fmla="*/ 679971 h 699162"/>
                      <a:gd name="connsiteX18" fmla="*/ 127946 w 789293"/>
                      <a:gd name="connsiteY18" fmla="*/ 679892 h 699162"/>
                      <a:gd name="connsiteX19" fmla="*/ 127946 w 789293"/>
                      <a:gd name="connsiteY19" fmla="*/ 374080 h 699162"/>
                      <a:gd name="connsiteX20" fmla="*/ 394674 w 789293"/>
                      <a:gd name="connsiteY20" fmla="*/ 121502 h 699162"/>
                      <a:gd name="connsiteX21" fmla="*/ 661346 w 789293"/>
                      <a:gd name="connsiteY21" fmla="*/ 373695 h 699162"/>
                      <a:gd name="connsiteX22" fmla="*/ 727360 w 789293"/>
                      <a:gd name="connsiteY22" fmla="*/ 409904 h 699162"/>
                      <a:gd name="connsiteX23" fmla="*/ 394674 w 789293"/>
                      <a:gd name="connsiteY23" fmla="*/ 95272 h 699162"/>
                      <a:gd name="connsiteX24" fmla="*/ 62164 w 789293"/>
                      <a:gd name="connsiteY24" fmla="*/ 410131 h 699162"/>
                      <a:gd name="connsiteX25" fmla="*/ 27292 w 789293"/>
                      <a:gd name="connsiteY25" fmla="*/ 375264 h 699162"/>
                      <a:gd name="connsiteX26" fmla="*/ 394671 w 789293"/>
                      <a:gd name="connsiteY26" fmla="*/ 26276 h 699162"/>
                      <a:gd name="connsiteX27" fmla="*/ 762000 w 789293"/>
                      <a:gd name="connsiteY27" fmla="*/ 375264 h 699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89293" h="699162">
                        <a:moveTo>
                          <a:pt x="0" y="374911"/>
                        </a:moveTo>
                        <a:lnTo>
                          <a:pt x="61811" y="436707"/>
                        </a:lnTo>
                        <a:lnTo>
                          <a:pt x="108896" y="392119"/>
                        </a:lnTo>
                        <a:lnTo>
                          <a:pt x="108896" y="698933"/>
                        </a:lnTo>
                        <a:lnTo>
                          <a:pt x="347049" y="699028"/>
                        </a:lnTo>
                        <a:lnTo>
                          <a:pt x="347049" y="461189"/>
                        </a:lnTo>
                        <a:lnTo>
                          <a:pt x="442299" y="461189"/>
                        </a:lnTo>
                        <a:lnTo>
                          <a:pt x="442299" y="699067"/>
                        </a:lnTo>
                        <a:lnTo>
                          <a:pt x="680396" y="699163"/>
                        </a:lnTo>
                        <a:lnTo>
                          <a:pt x="680396" y="391713"/>
                        </a:lnTo>
                        <a:lnTo>
                          <a:pt x="727735" y="436480"/>
                        </a:lnTo>
                        <a:lnTo>
                          <a:pt x="789294" y="374912"/>
                        </a:lnTo>
                        <a:lnTo>
                          <a:pt x="394673" y="0"/>
                        </a:lnTo>
                        <a:close/>
                        <a:moveTo>
                          <a:pt x="661346" y="680106"/>
                        </a:moveTo>
                        <a:lnTo>
                          <a:pt x="461349" y="680027"/>
                        </a:lnTo>
                        <a:lnTo>
                          <a:pt x="461349" y="442139"/>
                        </a:lnTo>
                        <a:lnTo>
                          <a:pt x="327999" y="442139"/>
                        </a:lnTo>
                        <a:lnTo>
                          <a:pt x="327999" y="679971"/>
                        </a:lnTo>
                        <a:lnTo>
                          <a:pt x="127946" y="679892"/>
                        </a:lnTo>
                        <a:lnTo>
                          <a:pt x="127946" y="374080"/>
                        </a:lnTo>
                        <a:lnTo>
                          <a:pt x="394674" y="121502"/>
                        </a:lnTo>
                        <a:lnTo>
                          <a:pt x="661346" y="373695"/>
                        </a:lnTo>
                        <a:close/>
                        <a:moveTo>
                          <a:pt x="727360" y="409904"/>
                        </a:moveTo>
                        <a:lnTo>
                          <a:pt x="394674" y="95272"/>
                        </a:lnTo>
                        <a:lnTo>
                          <a:pt x="62164" y="410131"/>
                        </a:lnTo>
                        <a:lnTo>
                          <a:pt x="27292" y="375264"/>
                        </a:lnTo>
                        <a:lnTo>
                          <a:pt x="394671" y="26276"/>
                        </a:lnTo>
                        <a:lnTo>
                          <a:pt x="762000" y="375264"/>
                        </a:lnTo>
                        <a:close/>
                      </a:path>
                    </a:pathLst>
                  </a:custGeom>
                  <a:solidFill>
                    <a:schemeClr val="tx2"/>
                  </a:solidFill>
                  <a:ln w="9525" cap="flat">
                    <a:noFill/>
                    <a:prstDash val="solid"/>
                    <a:miter/>
                  </a:ln>
                </p:spPr>
                <p:txBody>
                  <a:bodyPr rtlCol="0" anchor="ctr"/>
                  <a:lstStyle/>
                  <a:p>
                    <a:endParaRPr lang="en-AU"/>
                  </a:p>
                </p:txBody>
              </p:sp>
              <p:cxnSp>
                <p:nvCxnSpPr>
                  <p:cNvPr id="74" name="Connector: Elbow 73">
                    <a:extLst>
                      <a:ext uri="{FF2B5EF4-FFF2-40B4-BE49-F238E27FC236}">
                        <a16:creationId xmlns:a16="http://schemas.microsoft.com/office/drawing/2014/main" id="{DAC712FA-458D-DFC3-10F2-F43165CE1399}"/>
                      </a:ext>
                    </a:extLst>
                  </p:cNvPr>
                  <p:cNvCxnSpPr>
                    <a:cxnSpLocks/>
                    <a:stCxn id="72" idx="27"/>
                    <a:endCxn id="61" idx="1"/>
                  </p:cNvCxnSpPr>
                  <p:nvPr/>
                </p:nvCxnSpPr>
                <p:spPr>
                  <a:xfrm flipV="1">
                    <a:off x="1047509" y="2206624"/>
                    <a:ext cx="1415598" cy="1734297"/>
                  </a:xfrm>
                  <a:prstGeom prst="bentConnector3">
                    <a:avLst>
                      <a:gd name="adj1" fmla="val 50000"/>
                    </a:avLst>
                  </a:prstGeom>
                  <a:ln w="19050">
                    <a:no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2661386D-712F-AE75-2716-E185B00F03E3}"/>
                      </a:ext>
                    </a:extLst>
                  </p:cNvPr>
                  <p:cNvCxnSpPr>
                    <a:cxnSpLocks/>
                    <a:stCxn id="72" idx="11"/>
                    <a:endCxn id="63" idx="1"/>
                  </p:cNvCxnSpPr>
                  <p:nvPr/>
                </p:nvCxnSpPr>
                <p:spPr>
                  <a:xfrm flipV="1">
                    <a:off x="1068089" y="3142975"/>
                    <a:ext cx="1395020" cy="797665"/>
                  </a:xfrm>
                  <a:prstGeom prst="bentConnector3">
                    <a:avLst>
                      <a:gd name="adj1" fmla="val 50000"/>
                    </a:avLst>
                  </a:prstGeom>
                  <a:ln w="19050">
                    <a:no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7872E4DA-3B51-84E1-E368-EFA52CCEA165}"/>
                      </a:ext>
                    </a:extLst>
                  </p:cNvPr>
                  <p:cNvCxnSpPr>
                    <a:cxnSpLocks/>
                    <a:stCxn id="72" idx="11"/>
                    <a:endCxn id="67" idx="1"/>
                  </p:cNvCxnSpPr>
                  <p:nvPr/>
                </p:nvCxnSpPr>
                <p:spPr>
                  <a:xfrm>
                    <a:off x="1068089" y="3940640"/>
                    <a:ext cx="1413414" cy="19232"/>
                  </a:xfrm>
                  <a:prstGeom prst="straightConnector1">
                    <a:avLst/>
                  </a:prstGeom>
                  <a:ln w="19050">
                    <a:noFill/>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3DA4E749-E0FB-0475-2E8A-0146944F2542}"/>
                      </a:ext>
                    </a:extLst>
                  </p:cNvPr>
                  <p:cNvCxnSpPr>
                    <a:cxnSpLocks/>
                    <a:stCxn id="72" idx="27"/>
                    <a:endCxn id="62" idx="1"/>
                  </p:cNvCxnSpPr>
                  <p:nvPr/>
                </p:nvCxnSpPr>
                <p:spPr>
                  <a:xfrm>
                    <a:off x="1047509" y="3940922"/>
                    <a:ext cx="1459358" cy="919201"/>
                  </a:xfrm>
                  <a:prstGeom prst="bentConnector3">
                    <a:avLst>
                      <a:gd name="adj1" fmla="val 50000"/>
                    </a:avLst>
                  </a:prstGeom>
                  <a:ln w="19050">
                    <a:no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745DDBFD-6BAD-3C75-F2C0-45FF33B46BC9}"/>
                      </a:ext>
                    </a:extLst>
                  </p:cNvPr>
                  <p:cNvCxnSpPr>
                    <a:cxnSpLocks/>
                    <a:stCxn id="72" idx="27"/>
                    <a:endCxn id="60" idx="1"/>
                  </p:cNvCxnSpPr>
                  <p:nvPr/>
                </p:nvCxnSpPr>
                <p:spPr>
                  <a:xfrm>
                    <a:off x="1047509" y="3940922"/>
                    <a:ext cx="1424534" cy="1966438"/>
                  </a:xfrm>
                  <a:prstGeom prst="bentConnector3">
                    <a:avLst>
                      <a:gd name="adj1" fmla="val 50000"/>
                    </a:avLst>
                  </a:prstGeom>
                  <a:ln w="19050">
                    <a:noFill/>
                    <a:tailEnd type="triangle"/>
                  </a:ln>
                </p:spPr>
                <p:style>
                  <a:lnRef idx="1">
                    <a:schemeClr val="accent1"/>
                  </a:lnRef>
                  <a:fillRef idx="0">
                    <a:schemeClr val="accent1"/>
                  </a:fillRef>
                  <a:effectRef idx="0">
                    <a:schemeClr val="accent1"/>
                  </a:effectRef>
                  <a:fontRef idx="minor">
                    <a:schemeClr val="tx1"/>
                  </a:fontRef>
                </p:style>
              </p:cxnSp>
            </p:grpSp>
            <p:sp>
              <p:nvSpPr>
                <p:cNvPr id="51" name="Rectangle 50">
                  <a:extLst>
                    <a:ext uri="{FF2B5EF4-FFF2-40B4-BE49-F238E27FC236}">
                      <a16:creationId xmlns:a16="http://schemas.microsoft.com/office/drawing/2014/main" id="{C21F9780-BBFF-27E0-36C0-87F6DAC33AB5}"/>
                    </a:ext>
                  </a:extLst>
                </p:cNvPr>
                <p:cNvSpPr/>
                <p:nvPr/>
              </p:nvSpPr>
              <p:spPr>
                <a:xfrm>
                  <a:off x="1955688" y="2662299"/>
                  <a:ext cx="787225" cy="23849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800" b="1">
                      <a:solidFill>
                        <a:schemeClr val="tx1"/>
                      </a:solidFill>
                      <a:latin typeface="EYInterstate Light" panose="02000506000000020004" pitchFamily="2" charset="0"/>
                    </a:rPr>
                    <a:t>Visit family &amp; friends</a:t>
                  </a:r>
                </a:p>
              </p:txBody>
            </p:sp>
            <p:sp>
              <p:nvSpPr>
                <p:cNvPr id="52" name="Rectangle 51">
                  <a:extLst>
                    <a:ext uri="{FF2B5EF4-FFF2-40B4-BE49-F238E27FC236}">
                      <a16:creationId xmlns:a16="http://schemas.microsoft.com/office/drawing/2014/main" id="{C0408F86-3345-74F7-AC05-26161EED8F72}"/>
                    </a:ext>
                  </a:extLst>
                </p:cNvPr>
                <p:cNvSpPr/>
                <p:nvPr/>
              </p:nvSpPr>
              <p:spPr>
                <a:xfrm>
                  <a:off x="1972542" y="3305462"/>
                  <a:ext cx="750883" cy="1231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800" b="1">
                      <a:solidFill>
                        <a:schemeClr val="tx1"/>
                      </a:solidFill>
                      <a:latin typeface="EYInterstate Light" panose="02000506000000020004" pitchFamily="2" charset="0"/>
                    </a:rPr>
                    <a:t>Go shopping</a:t>
                  </a:r>
                </a:p>
              </p:txBody>
            </p:sp>
            <p:sp>
              <p:nvSpPr>
                <p:cNvPr id="53" name="Rectangle 52">
                  <a:extLst>
                    <a:ext uri="{FF2B5EF4-FFF2-40B4-BE49-F238E27FC236}">
                      <a16:creationId xmlns:a16="http://schemas.microsoft.com/office/drawing/2014/main" id="{FD368D4B-33AA-494A-788E-FF15C1B88855}"/>
                    </a:ext>
                  </a:extLst>
                </p:cNvPr>
                <p:cNvSpPr/>
                <p:nvPr/>
              </p:nvSpPr>
              <p:spPr>
                <a:xfrm>
                  <a:off x="1985759" y="3818945"/>
                  <a:ext cx="750883" cy="1231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800" b="1">
                      <a:solidFill>
                        <a:schemeClr val="tx1"/>
                      </a:solidFill>
                      <a:latin typeface="EYInterstate Light" panose="02000506000000020004" pitchFamily="2" charset="0"/>
                    </a:rPr>
                    <a:t>For recreation</a:t>
                  </a:r>
                </a:p>
              </p:txBody>
            </p:sp>
            <p:sp>
              <p:nvSpPr>
                <p:cNvPr id="58" name="Rectangle 57">
                  <a:extLst>
                    <a:ext uri="{FF2B5EF4-FFF2-40B4-BE49-F238E27FC236}">
                      <a16:creationId xmlns:a16="http://schemas.microsoft.com/office/drawing/2014/main" id="{E373DAB9-DBA6-EAA1-95FD-351DD77E1367}"/>
                    </a:ext>
                  </a:extLst>
                </p:cNvPr>
                <p:cNvSpPr/>
                <p:nvPr/>
              </p:nvSpPr>
              <p:spPr>
                <a:xfrm>
                  <a:off x="1981144" y="4465588"/>
                  <a:ext cx="750883" cy="23849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800" b="1">
                      <a:solidFill>
                        <a:schemeClr val="tx1"/>
                      </a:solidFill>
                      <a:latin typeface="EYInterstate Light" panose="02000506000000020004" pitchFamily="2" charset="0"/>
                    </a:rPr>
                    <a:t>Get to public transport</a:t>
                  </a:r>
                </a:p>
              </p:txBody>
            </p:sp>
            <p:sp>
              <p:nvSpPr>
                <p:cNvPr id="59" name="Rectangle 58">
                  <a:extLst>
                    <a:ext uri="{FF2B5EF4-FFF2-40B4-BE49-F238E27FC236}">
                      <a16:creationId xmlns:a16="http://schemas.microsoft.com/office/drawing/2014/main" id="{4DDE1650-BF02-8456-25AB-0880AF6C480B}"/>
                    </a:ext>
                  </a:extLst>
                </p:cNvPr>
                <p:cNvSpPr/>
                <p:nvPr/>
              </p:nvSpPr>
              <p:spPr>
                <a:xfrm>
                  <a:off x="1967287" y="5096212"/>
                  <a:ext cx="750883" cy="1231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800" b="1">
                      <a:solidFill>
                        <a:schemeClr val="tx1"/>
                      </a:solidFill>
                      <a:latin typeface="EYInterstate Light" panose="02000506000000020004" pitchFamily="2" charset="0"/>
                    </a:rPr>
                    <a:t>Go to work</a:t>
                  </a:r>
                </a:p>
              </p:txBody>
            </p:sp>
          </p:grpSp>
          <p:sp>
            <p:nvSpPr>
              <p:cNvPr id="39" name="Rectangle 38">
                <a:extLst>
                  <a:ext uri="{FF2B5EF4-FFF2-40B4-BE49-F238E27FC236}">
                    <a16:creationId xmlns:a16="http://schemas.microsoft.com/office/drawing/2014/main" id="{DE8A32E2-17CC-ED39-1265-7E55535D5D6B}"/>
                  </a:ext>
                </a:extLst>
              </p:cNvPr>
              <p:cNvSpPr/>
              <p:nvPr/>
            </p:nvSpPr>
            <p:spPr>
              <a:xfrm>
                <a:off x="2397243" y="4005922"/>
                <a:ext cx="681803" cy="3077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2000" b="1">
                    <a:solidFill>
                      <a:schemeClr val="tx1"/>
                    </a:solidFill>
                    <a:latin typeface="EYInterstate" panose="02000503020000020004" pitchFamily="2" charset="0"/>
                  </a:rPr>
                  <a:t>45%</a:t>
                </a:r>
              </a:p>
            </p:txBody>
          </p:sp>
          <p:sp>
            <p:nvSpPr>
              <p:cNvPr id="42" name="Rectangle 41">
                <a:extLst>
                  <a:ext uri="{FF2B5EF4-FFF2-40B4-BE49-F238E27FC236}">
                    <a16:creationId xmlns:a16="http://schemas.microsoft.com/office/drawing/2014/main" id="{36E9762C-92BD-6AE4-9710-F6BCCBBB0527}"/>
                  </a:ext>
                </a:extLst>
              </p:cNvPr>
              <p:cNvSpPr/>
              <p:nvPr/>
            </p:nvSpPr>
            <p:spPr>
              <a:xfrm>
                <a:off x="2406479" y="3427163"/>
                <a:ext cx="681803" cy="3077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2000" b="1">
                    <a:solidFill>
                      <a:schemeClr val="tx1"/>
                    </a:solidFill>
                    <a:latin typeface="EYInterstate" panose="02000503020000020004" pitchFamily="2" charset="0"/>
                  </a:rPr>
                  <a:t>35%</a:t>
                </a:r>
              </a:p>
            </p:txBody>
          </p:sp>
          <p:sp>
            <p:nvSpPr>
              <p:cNvPr id="46" name="Rectangle 45">
                <a:extLst>
                  <a:ext uri="{FF2B5EF4-FFF2-40B4-BE49-F238E27FC236}">
                    <a16:creationId xmlns:a16="http://schemas.microsoft.com/office/drawing/2014/main" id="{0A4D2518-0FA6-6AAB-7F3E-BFA1C52DFA73}"/>
                  </a:ext>
                </a:extLst>
              </p:cNvPr>
              <p:cNvSpPr/>
              <p:nvPr/>
            </p:nvSpPr>
            <p:spPr>
              <a:xfrm>
                <a:off x="2389459" y="4579587"/>
                <a:ext cx="681803" cy="3077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2000" b="1">
                    <a:solidFill>
                      <a:schemeClr val="tx1"/>
                    </a:solidFill>
                    <a:latin typeface="EYInterstate" panose="02000503020000020004" pitchFamily="2" charset="0"/>
                  </a:rPr>
                  <a:t>50%</a:t>
                </a:r>
              </a:p>
            </p:txBody>
          </p:sp>
          <p:sp>
            <p:nvSpPr>
              <p:cNvPr id="48" name="Rectangle 47">
                <a:extLst>
                  <a:ext uri="{FF2B5EF4-FFF2-40B4-BE49-F238E27FC236}">
                    <a16:creationId xmlns:a16="http://schemas.microsoft.com/office/drawing/2014/main" id="{99BA311F-1A29-8DA4-9740-EECFD5E875B0}"/>
                  </a:ext>
                </a:extLst>
              </p:cNvPr>
              <p:cNvSpPr/>
              <p:nvPr/>
            </p:nvSpPr>
            <p:spPr>
              <a:xfrm>
                <a:off x="2389459" y="5178641"/>
                <a:ext cx="681803" cy="3077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2000" b="1">
                    <a:solidFill>
                      <a:schemeClr val="tx1"/>
                    </a:solidFill>
                    <a:latin typeface="EYInterstate" panose="02000503020000020004" pitchFamily="2" charset="0"/>
                  </a:rPr>
                  <a:t>53%</a:t>
                </a:r>
              </a:p>
            </p:txBody>
          </p:sp>
          <p:sp>
            <p:nvSpPr>
              <p:cNvPr id="49" name="Rectangle 48">
                <a:extLst>
                  <a:ext uri="{FF2B5EF4-FFF2-40B4-BE49-F238E27FC236}">
                    <a16:creationId xmlns:a16="http://schemas.microsoft.com/office/drawing/2014/main" id="{90BA3495-FA0C-D0E0-D475-26FB0F05B194}"/>
                  </a:ext>
                </a:extLst>
              </p:cNvPr>
              <p:cNvSpPr/>
              <p:nvPr/>
            </p:nvSpPr>
            <p:spPr>
              <a:xfrm>
                <a:off x="2385777" y="5851097"/>
                <a:ext cx="681803" cy="3077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2000" b="1">
                    <a:solidFill>
                      <a:schemeClr val="tx1"/>
                    </a:solidFill>
                    <a:latin typeface="EYInterstate" panose="02000503020000020004" pitchFamily="2" charset="0"/>
                  </a:rPr>
                  <a:t>46%</a:t>
                </a:r>
              </a:p>
            </p:txBody>
          </p:sp>
        </p:grpSp>
        <p:sp>
          <p:nvSpPr>
            <p:cNvPr id="25" name="Rectangle 24">
              <a:extLst>
                <a:ext uri="{FF2B5EF4-FFF2-40B4-BE49-F238E27FC236}">
                  <a16:creationId xmlns:a16="http://schemas.microsoft.com/office/drawing/2014/main" id="{C5325943-CC1F-691F-2A89-6ECEF066461F}"/>
                </a:ext>
              </a:extLst>
            </p:cNvPr>
            <p:cNvSpPr/>
            <p:nvPr/>
          </p:nvSpPr>
          <p:spPr>
            <a:xfrm rot="16200000">
              <a:off x="-948943" y="4650534"/>
              <a:ext cx="3287474" cy="413554"/>
            </a:xfrm>
            <a:prstGeom prst="rect">
              <a:avLst/>
            </a:prstGeom>
            <a:solidFill>
              <a:schemeClr val="bg2">
                <a:lumMod val="40000"/>
                <a:lumOff val="6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algn="ctr"/>
              <a:r>
                <a:rPr lang="en-AU" sz="1200" b="1">
                  <a:solidFill>
                    <a:schemeClr val="tx1"/>
                  </a:solidFill>
                  <a:latin typeface="EYInterstate Regular" panose="02000503020000020004" pitchFamily="2" charset="0"/>
                </a:rPr>
                <a:t>What do people use e-scooters for?</a:t>
              </a:r>
            </a:p>
          </p:txBody>
        </p:sp>
        <p:sp>
          <p:nvSpPr>
            <p:cNvPr id="32" name="TextBox 31">
              <a:extLst>
                <a:ext uri="{FF2B5EF4-FFF2-40B4-BE49-F238E27FC236}">
                  <a16:creationId xmlns:a16="http://schemas.microsoft.com/office/drawing/2014/main" id="{8F62B3E7-EE91-6CEB-F99A-9DDBD93D54F0}"/>
                </a:ext>
              </a:extLst>
            </p:cNvPr>
            <p:cNvSpPr txBox="1"/>
            <p:nvPr/>
          </p:nvSpPr>
          <p:spPr>
            <a:xfrm>
              <a:off x="938511" y="3252210"/>
              <a:ext cx="1293264" cy="415498"/>
            </a:xfrm>
            <a:prstGeom prst="rect">
              <a:avLst/>
            </a:prstGeom>
            <a:noFill/>
            <a:ln>
              <a:noFill/>
            </a:ln>
          </p:spPr>
          <p:txBody>
            <a:bodyPr wrap="square">
              <a:spAutoFit/>
            </a:bodyPr>
            <a:lstStyle/>
            <a:p>
              <a:r>
                <a:rPr lang="en-AU" sz="700">
                  <a:latin typeface="EYInterstate Light" panose="02000506000000020004" pitchFamily="2" charset="0"/>
                </a:rPr>
                <a:t>Note: survey respondents can choose more than one option.</a:t>
              </a:r>
            </a:p>
          </p:txBody>
        </p:sp>
      </p:grpSp>
    </p:spTree>
    <p:extLst>
      <p:ext uri="{BB962C8B-B14F-4D97-AF65-F5344CB8AC3E}">
        <p14:creationId xmlns:p14="http://schemas.microsoft.com/office/powerpoint/2010/main" val="22104099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D4D086-927F-401A-993D-905CA5B676E0}"/>
            </a:ext>
          </a:extLst>
        </p:cNvPr>
        <p:cNvGrpSpPr/>
        <p:nvPr/>
      </p:nvGrpSpPr>
      <p:grpSpPr>
        <a:xfrm>
          <a:off x="0" y="0"/>
          <a:ext cx="0" cy="0"/>
          <a:chOff x="0" y="0"/>
          <a:chExt cx="0" cy="0"/>
        </a:xfrm>
      </p:grpSpPr>
      <p:sp>
        <p:nvSpPr>
          <p:cNvPr id="3" name="Title 7">
            <a:extLst>
              <a:ext uri="{FF2B5EF4-FFF2-40B4-BE49-F238E27FC236}">
                <a16:creationId xmlns:a16="http://schemas.microsoft.com/office/drawing/2014/main" id="{201304C9-13E5-91E7-8717-2F80F1C4D886}"/>
              </a:ext>
            </a:extLst>
          </p:cNvPr>
          <p:cNvSpPr txBox="1">
            <a:spLocks/>
          </p:cNvSpPr>
          <p:nvPr/>
        </p:nvSpPr>
        <p:spPr>
          <a:xfrm>
            <a:off x="326849" y="288389"/>
            <a:ext cx="5599252" cy="1232435"/>
          </a:xfrm>
          <a:prstGeom prst="rect">
            <a:avLst/>
          </a:prstGeom>
        </p:spPr>
        <p:txBody>
          <a:bodyPr/>
          <a:lstStyle>
            <a:lvl1pPr algn="l" defTabSz="914400" rtl="0" eaLnBrk="1" latinLnBrk="0" hangingPunct="1">
              <a:lnSpc>
                <a:spcPct val="90000"/>
              </a:lnSpc>
              <a:spcBef>
                <a:spcPct val="0"/>
              </a:spcBef>
              <a:buNone/>
              <a:defRPr sz="3100" kern="1200">
                <a:solidFill>
                  <a:schemeClr val="tx1"/>
                </a:solidFill>
                <a:latin typeface="+mj-lt"/>
                <a:ea typeface="+mj-ea"/>
                <a:cs typeface="+mj-cs"/>
              </a:defRPr>
            </a:lvl1pPr>
          </a:lstStyle>
          <a:p>
            <a:r>
              <a:rPr lang="en-US"/>
              <a:t>Injury rate and claims rate</a:t>
            </a:r>
          </a:p>
        </p:txBody>
      </p:sp>
      <p:sp>
        <p:nvSpPr>
          <p:cNvPr id="208" name="Rectangle 207">
            <a:extLst>
              <a:ext uri="{FF2B5EF4-FFF2-40B4-BE49-F238E27FC236}">
                <a16:creationId xmlns:a16="http://schemas.microsoft.com/office/drawing/2014/main" id="{01ABF34B-A205-C399-4794-24C566301741}"/>
              </a:ext>
            </a:extLst>
          </p:cNvPr>
          <p:cNvSpPr/>
          <p:nvPr/>
        </p:nvSpPr>
        <p:spPr>
          <a:xfrm rot="5400000">
            <a:off x="10409352" y="1991597"/>
            <a:ext cx="2254474" cy="413554"/>
          </a:xfrm>
          <a:prstGeom prst="rect">
            <a:avLst/>
          </a:prstGeom>
          <a:solidFill>
            <a:schemeClr val="bg2">
              <a:lumMod val="40000"/>
              <a:lumOff val="6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algn="ctr"/>
            <a:r>
              <a:rPr lang="en-AU" sz="1200" b="1">
                <a:solidFill>
                  <a:schemeClr val="accent3"/>
                </a:solidFill>
                <a:latin typeface="+mj-lt"/>
              </a:rPr>
              <a:t>Demographics</a:t>
            </a:r>
          </a:p>
        </p:txBody>
      </p:sp>
      <p:grpSp>
        <p:nvGrpSpPr>
          <p:cNvPr id="51" name="Group 50">
            <a:extLst>
              <a:ext uri="{FF2B5EF4-FFF2-40B4-BE49-F238E27FC236}">
                <a16:creationId xmlns:a16="http://schemas.microsoft.com/office/drawing/2014/main" id="{8F36AE75-9FFC-C01E-6199-739139F0D4BA}"/>
              </a:ext>
            </a:extLst>
          </p:cNvPr>
          <p:cNvGrpSpPr/>
          <p:nvPr/>
        </p:nvGrpSpPr>
        <p:grpSpPr>
          <a:xfrm>
            <a:off x="7596366" y="1974490"/>
            <a:ext cx="8343243" cy="1048623"/>
            <a:chOff x="6950733" y="2374524"/>
            <a:chExt cx="8343243" cy="1048623"/>
          </a:xfrm>
        </p:grpSpPr>
        <p:sp>
          <p:nvSpPr>
            <p:cNvPr id="250" name="Rectangle 249">
              <a:extLst>
                <a:ext uri="{FF2B5EF4-FFF2-40B4-BE49-F238E27FC236}">
                  <a16:creationId xmlns:a16="http://schemas.microsoft.com/office/drawing/2014/main" id="{9A75FD71-C1E7-1B08-AF09-F96F3E41BDE4}"/>
                </a:ext>
              </a:extLst>
            </p:cNvPr>
            <p:cNvSpPr/>
            <p:nvPr/>
          </p:nvSpPr>
          <p:spPr>
            <a:xfrm>
              <a:off x="6950733" y="2789850"/>
              <a:ext cx="647246" cy="4308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buSzPct val="75000"/>
              </a:pPr>
              <a:r>
                <a:rPr lang="pt-BR" sz="1400" b="1" dirty="0">
                  <a:solidFill>
                    <a:schemeClr val="accent3"/>
                  </a:solidFill>
                  <a:latin typeface="+mj-lt"/>
                </a:rPr>
                <a:t>Age </a:t>
              </a:r>
            </a:p>
            <a:p>
              <a:pPr algn="ctr">
                <a:buSzPct val="75000"/>
              </a:pPr>
              <a:r>
                <a:rPr lang="pt-BR" sz="1400" b="1" dirty="0">
                  <a:solidFill>
                    <a:schemeClr val="accent3"/>
                  </a:solidFill>
                  <a:latin typeface="+mj-lt"/>
                </a:rPr>
                <a:t>band</a:t>
              </a:r>
            </a:p>
          </p:txBody>
        </p:sp>
        <p:cxnSp>
          <p:nvCxnSpPr>
            <p:cNvPr id="252" name="Straight Connector 251">
              <a:extLst>
                <a:ext uri="{FF2B5EF4-FFF2-40B4-BE49-F238E27FC236}">
                  <a16:creationId xmlns:a16="http://schemas.microsoft.com/office/drawing/2014/main" id="{A4D614EB-F410-B8EE-4AC2-62AF5F310DB7}"/>
                </a:ext>
              </a:extLst>
            </p:cNvPr>
            <p:cNvCxnSpPr>
              <a:cxnSpLocks/>
            </p:cNvCxnSpPr>
            <p:nvPr/>
          </p:nvCxnSpPr>
          <p:spPr>
            <a:xfrm>
              <a:off x="7633234" y="2542076"/>
              <a:ext cx="1689" cy="881071"/>
            </a:xfrm>
            <a:prstGeom prst="line">
              <a:avLst/>
            </a:prstGeom>
            <a:ln w="9525">
              <a:solidFill>
                <a:schemeClr val="tx2">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00536026-B9DF-1BD1-48E4-112B492AE825}"/>
                </a:ext>
              </a:extLst>
            </p:cNvPr>
            <p:cNvGraphicFramePr>
              <a:graphicFrameLocks/>
            </p:cNvGraphicFramePr>
            <p:nvPr>
              <p:extLst>
                <p:ext uri="{D42A27DB-BD31-4B8C-83A1-F6EECF244321}">
                  <p14:modId xmlns:p14="http://schemas.microsoft.com/office/powerpoint/2010/main" val="2802920322"/>
                </p:ext>
              </p:extLst>
            </p:nvPr>
          </p:nvGraphicFramePr>
          <p:xfrm>
            <a:off x="11476951" y="2374524"/>
            <a:ext cx="3817025" cy="925863"/>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50" name="Group 49">
            <a:extLst>
              <a:ext uri="{FF2B5EF4-FFF2-40B4-BE49-F238E27FC236}">
                <a16:creationId xmlns:a16="http://schemas.microsoft.com/office/drawing/2014/main" id="{B21A9A45-89E4-CF8C-1706-055FCEF99BFF}"/>
              </a:ext>
            </a:extLst>
          </p:cNvPr>
          <p:cNvGrpSpPr/>
          <p:nvPr/>
        </p:nvGrpSpPr>
        <p:grpSpPr>
          <a:xfrm>
            <a:off x="7596366" y="1086087"/>
            <a:ext cx="3632509" cy="893451"/>
            <a:chOff x="6961203" y="1390259"/>
            <a:chExt cx="3632509" cy="893451"/>
          </a:xfrm>
        </p:grpSpPr>
        <p:sp>
          <p:nvSpPr>
            <p:cNvPr id="217" name="Rectangle 216">
              <a:extLst>
                <a:ext uri="{FF2B5EF4-FFF2-40B4-BE49-F238E27FC236}">
                  <a16:creationId xmlns:a16="http://schemas.microsoft.com/office/drawing/2014/main" id="{D46F1914-051A-5587-F768-3B6716329B6B}"/>
                </a:ext>
              </a:extLst>
            </p:cNvPr>
            <p:cNvSpPr/>
            <p:nvPr/>
          </p:nvSpPr>
          <p:spPr>
            <a:xfrm>
              <a:off x="7656787" y="1620349"/>
              <a:ext cx="647246"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a:solidFill>
                    <a:schemeClr val="accent3"/>
                  </a:solidFill>
                  <a:latin typeface="+mj-lt"/>
                </a:rPr>
                <a:t>Male</a:t>
              </a:r>
            </a:p>
          </p:txBody>
        </p:sp>
        <p:pic>
          <p:nvPicPr>
            <p:cNvPr id="234" name="Graphic 233" descr="Female Profile with solid fill">
              <a:extLst>
                <a:ext uri="{FF2B5EF4-FFF2-40B4-BE49-F238E27FC236}">
                  <a16:creationId xmlns:a16="http://schemas.microsoft.com/office/drawing/2014/main" id="{62AFC4CF-96A1-A711-14E7-B877690BF8F1}"/>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83795" y="1980691"/>
              <a:ext cx="303019" cy="303019"/>
            </a:xfrm>
            <a:prstGeom prst="rect">
              <a:avLst/>
            </a:prstGeom>
          </p:spPr>
        </p:pic>
        <p:pic>
          <p:nvPicPr>
            <p:cNvPr id="236" name="Graphic 235" descr="Man with solid fill">
              <a:extLst>
                <a:ext uri="{FF2B5EF4-FFF2-40B4-BE49-F238E27FC236}">
                  <a16:creationId xmlns:a16="http://schemas.microsoft.com/office/drawing/2014/main" id="{81FA0EFD-BF89-04F8-ECE9-46CEFEF2FC5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343791" y="1570916"/>
              <a:ext cx="360000" cy="360000"/>
            </a:xfrm>
            <a:prstGeom prst="rect">
              <a:avLst/>
            </a:prstGeom>
          </p:spPr>
        </p:pic>
        <p:pic>
          <p:nvPicPr>
            <p:cNvPr id="237" name="Graphic 236" descr="Man with solid fill">
              <a:extLst>
                <a:ext uri="{FF2B5EF4-FFF2-40B4-BE49-F238E27FC236}">
                  <a16:creationId xmlns:a16="http://schemas.microsoft.com/office/drawing/2014/main" id="{A324D063-4A57-5561-C9FC-6D635F6C5BC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97282" y="1570916"/>
              <a:ext cx="360000" cy="360000"/>
            </a:xfrm>
            <a:prstGeom prst="rect">
              <a:avLst/>
            </a:prstGeom>
          </p:spPr>
        </p:pic>
        <p:pic>
          <p:nvPicPr>
            <p:cNvPr id="238" name="Graphic 237" descr="Man with solid fill">
              <a:extLst>
                <a:ext uri="{FF2B5EF4-FFF2-40B4-BE49-F238E27FC236}">
                  <a16:creationId xmlns:a16="http://schemas.microsoft.com/office/drawing/2014/main" id="{7022828E-575E-CF0B-6F16-D773A9EB1B3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849773" y="1570916"/>
              <a:ext cx="360000" cy="360000"/>
            </a:xfrm>
            <a:prstGeom prst="rect">
              <a:avLst/>
            </a:prstGeom>
          </p:spPr>
        </p:pic>
        <p:pic>
          <p:nvPicPr>
            <p:cNvPr id="239" name="Graphic 238" descr="Man with solid fill">
              <a:extLst>
                <a:ext uri="{FF2B5EF4-FFF2-40B4-BE49-F238E27FC236}">
                  <a16:creationId xmlns:a16="http://schemas.microsoft.com/office/drawing/2014/main" id="{81288482-49D3-5440-35C3-439CA3FC8E1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03264" y="1570916"/>
              <a:ext cx="360000" cy="360000"/>
            </a:xfrm>
            <a:prstGeom prst="rect">
              <a:avLst/>
            </a:prstGeom>
          </p:spPr>
        </p:pic>
        <p:pic>
          <p:nvPicPr>
            <p:cNvPr id="240" name="Graphic 239" descr="Man with solid fill">
              <a:extLst>
                <a:ext uri="{FF2B5EF4-FFF2-40B4-BE49-F238E27FC236}">
                  <a16:creationId xmlns:a16="http://schemas.microsoft.com/office/drawing/2014/main" id="{941587DC-CB60-25D4-EE3B-98A45364669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62219" y="1570916"/>
              <a:ext cx="360000" cy="360000"/>
            </a:xfrm>
            <a:prstGeom prst="rect">
              <a:avLst/>
            </a:prstGeom>
          </p:spPr>
        </p:pic>
        <p:pic>
          <p:nvPicPr>
            <p:cNvPr id="241" name="Graphic 240" descr="Man with solid fill">
              <a:extLst>
                <a:ext uri="{FF2B5EF4-FFF2-40B4-BE49-F238E27FC236}">
                  <a16:creationId xmlns:a16="http://schemas.microsoft.com/office/drawing/2014/main" id="{1892C12D-F1F4-E7AA-B1E3-04AB27D46AC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15710" y="1570916"/>
              <a:ext cx="360000" cy="360000"/>
            </a:xfrm>
            <a:prstGeom prst="rect">
              <a:avLst/>
            </a:prstGeom>
          </p:spPr>
        </p:pic>
        <p:pic>
          <p:nvPicPr>
            <p:cNvPr id="244" name="Graphic 243" descr="Female Profile with solid fill">
              <a:extLst>
                <a:ext uri="{FF2B5EF4-FFF2-40B4-BE49-F238E27FC236}">
                  <a16:creationId xmlns:a16="http://schemas.microsoft.com/office/drawing/2014/main" id="{C6A9B4C5-5029-A99C-8820-F4F9BE4D2A2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52705" y="1980691"/>
              <a:ext cx="303019" cy="303019"/>
            </a:xfrm>
            <a:prstGeom prst="rect">
              <a:avLst/>
            </a:prstGeom>
          </p:spPr>
        </p:pic>
        <p:sp>
          <p:nvSpPr>
            <p:cNvPr id="245" name="Rectangle 244">
              <a:extLst>
                <a:ext uri="{FF2B5EF4-FFF2-40B4-BE49-F238E27FC236}">
                  <a16:creationId xmlns:a16="http://schemas.microsoft.com/office/drawing/2014/main" id="{8C5B6877-0C90-C336-D1E8-88978CFC533D}"/>
                </a:ext>
              </a:extLst>
            </p:cNvPr>
            <p:cNvSpPr/>
            <p:nvPr/>
          </p:nvSpPr>
          <p:spPr>
            <a:xfrm>
              <a:off x="7665003" y="2028395"/>
              <a:ext cx="647246"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sz="1400" b="1" dirty="0">
                  <a:solidFill>
                    <a:schemeClr val="accent3"/>
                  </a:solidFill>
                  <a:latin typeface="+mj-lt"/>
                </a:rPr>
                <a:t>Female</a:t>
              </a:r>
            </a:p>
          </p:txBody>
        </p:sp>
        <p:sp>
          <p:nvSpPr>
            <p:cNvPr id="246" name="Rectangle 245">
              <a:extLst>
                <a:ext uri="{FF2B5EF4-FFF2-40B4-BE49-F238E27FC236}">
                  <a16:creationId xmlns:a16="http://schemas.microsoft.com/office/drawing/2014/main" id="{601BD158-4283-3BF5-B120-C564A3A194C7}"/>
                </a:ext>
              </a:extLst>
            </p:cNvPr>
            <p:cNvSpPr/>
            <p:nvPr/>
          </p:nvSpPr>
          <p:spPr>
            <a:xfrm>
              <a:off x="9850292" y="1573914"/>
              <a:ext cx="743420" cy="276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b="1" dirty="0">
                  <a:solidFill>
                    <a:schemeClr val="accent3"/>
                  </a:solidFill>
                  <a:latin typeface="+mj-lt"/>
                </a:rPr>
                <a:t>60%</a:t>
              </a:r>
            </a:p>
          </p:txBody>
        </p:sp>
        <p:sp>
          <p:nvSpPr>
            <p:cNvPr id="247" name="Rectangle 246">
              <a:extLst>
                <a:ext uri="{FF2B5EF4-FFF2-40B4-BE49-F238E27FC236}">
                  <a16:creationId xmlns:a16="http://schemas.microsoft.com/office/drawing/2014/main" id="{38C3F31F-DDF4-7336-9641-632E9B3D4EBC}"/>
                </a:ext>
              </a:extLst>
            </p:cNvPr>
            <p:cNvSpPr/>
            <p:nvPr/>
          </p:nvSpPr>
          <p:spPr>
            <a:xfrm>
              <a:off x="9850292" y="1989876"/>
              <a:ext cx="743420" cy="276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400"/>
                </a:spcAft>
                <a:buSzPct val="75000"/>
              </a:pPr>
              <a:r>
                <a:rPr lang="pt-BR" b="1">
                  <a:solidFill>
                    <a:schemeClr val="accent3"/>
                  </a:solidFill>
                  <a:latin typeface="+mj-lt"/>
                </a:rPr>
                <a:t>40%</a:t>
              </a:r>
            </a:p>
          </p:txBody>
        </p:sp>
        <p:sp>
          <p:nvSpPr>
            <p:cNvPr id="48" name="Rectangle 47">
              <a:extLst>
                <a:ext uri="{FF2B5EF4-FFF2-40B4-BE49-F238E27FC236}">
                  <a16:creationId xmlns:a16="http://schemas.microsoft.com/office/drawing/2014/main" id="{4C8B92BF-5302-54A9-A88C-072660B90B32}"/>
                </a:ext>
              </a:extLst>
            </p:cNvPr>
            <p:cNvSpPr/>
            <p:nvPr/>
          </p:nvSpPr>
          <p:spPr>
            <a:xfrm>
              <a:off x="6961203" y="1769000"/>
              <a:ext cx="647246"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buSzPct val="75000"/>
              </a:pPr>
              <a:r>
                <a:rPr lang="pt-BR" sz="1400" b="1">
                  <a:solidFill>
                    <a:schemeClr val="accent3"/>
                  </a:solidFill>
                  <a:latin typeface="+mj-lt"/>
                </a:rPr>
                <a:t>Gender</a:t>
              </a:r>
            </a:p>
          </p:txBody>
        </p:sp>
        <p:cxnSp>
          <p:nvCxnSpPr>
            <p:cNvPr id="49" name="Straight Connector 48">
              <a:extLst>
                <a:ext uri="{FF2B5EF4-FFF2-40B4-BE49-F238E27FC236}">
                  <a16:creationId xmlns:a16="http://schemas.microsoft.com/office/drawing/2014/main" id="{9EC02258-64D1-F998-F4CD-2F997553E5A5}"/>
                </a:ext>
              </a:extLst>
            </p:cNvPr>
            <p:cNvCxnSpPr>
              <a:cxnSpLocks/>
            </p:cNvCxnSpPr>
            <p:nvPr/>
          </p:nvCxnSpPr>
          <p:spPr>
            <a:xfrm>
              <a:off x="7631773" y="1390259"/>
              <a:ext cx="1689" cy="881071"/>
            </a:xfrm>
            <a:prstGeom prst="line">
              <a:avLst/>
            </a:prstGeom>
            <a:ln w="9525">
              <a:solidFill>
                <a:schemeClr val="tx2">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grpSp>
      <p:pic>
        <p:nvPicPr>
          <p:cNvPr id="6" name="Graphic 5" descr="Female Profile with solid fill">
            <a:extLst>
              <a:ext uri="{FF2B5EF4-FFF2-40B4-BE49-F238E27FC236}">
                <a16:creationId xmlns:a16="http://schemas.microsoft.com/office/drawing/2014/main" id="{0F456773-79DC-39EA-FADE-E9A819C5F16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42065" y="1671471"/>
            <a:ext cx="303019" cy="303019"/>
          </a:xfrm>
          <a:prstGeom prst="rect">
            <a:avLst/>
          </a:prstGeom>
        </p:spPr>
      </p:pic>
      <p:pic>
        <p:nvPicPr>
          <p:cNvPr id="7" name="Graphic 6" descr="Female Profile with solid fill">
            <a:extLst>
              <a:ext uri="{FF2B5EF4-FFF2-40B4-BE49-F238E27FC236}">
                <a16:creationId xmlns:a16="http://schemas.microsoft.com/office/drawing/2014/main" id="{ECF84A18-0EAD-901A-3908-7B2FE6306B1E}"/>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15703" y="1677013"/>
            <a:ext cx="303019" cy="303019"/>
          </a:xfrm>
          <a:prstGeom prst="rect">
            <a:avLst/>
          </a:prstGeom>
        </p:spPr>
      </p:pic>
      <p:sp>
        <p:nvSpPr>
          <p:cNvPr id="38" name="Rectangle 37">
            <a:extLst>
              <a:ext uri="{FF2B5EF4-FFF2-40B4-BE49-F238E27FC236}">
                <a16:creationId xmlns:a16="http://schemas.microsoft.com/office/drawing/2014/main" id="{EAE9B9D0-2A86-1163-70B7-0EE8737D1F91}"/>
              </a:ext>
            </a:extLst>
          </p:cNvPr>
          <p:cNvSpPr/>
          <p:nvPr/>
        </p:nvSpPr>
        <p:spPr>
          <a:xfrm>
            <a:off x="7618446" y="903754"/>
            <a:ext cx="4140000" cy="264412"/>
          </a:xfrm>
          <a:prstGeom prst="rect">
            <a:avLst/>
          </a:prstGeom>
          <a:solidFill>
            <a:schemeClr val="tx1">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a:solidFill>
                  <a:srgbClr val="FFFFFF"/>
                </a:solidFill>
              </a:rPr>
              <a:t>E-scooter usage</a:t>
            </a:r>
            <a:r>
              <a:rPr lang="en-AU" sz="1400" b="1" baseline="30000">
                <a:solidFill>
                  <a:srgbClr val="FFFFFF"/>
                </a:solidFill>
              </a:rPr>
              <a:t>1</a:t>
            </a:r>
            <a:r>
              <a:rPr lang="en-AU" sz="1400" b="1">
                <a:solidFill>
                  <a:srgbClr val="FFFFFF"/>
                </a:solidFill>
              </a:rPr>
              <a:t> </a:t>
            </a:r>
          </a:p>
        </p:txBody>
      </p:sp>
      <p:sp>
        <p:nvSpPr>
          <p:cNvPr id="67" name="Rectangle 66">
            <a:extLst>
              <a:ext uri="{FF2B5EF4-FFF2-40B4-BE49-F238E27FC236}">
                <a16:creationId xmlns:a16="http://schemas.microsoft.com/office/drawing/2014/main" id="{8F5D5E29-A903-0EA6-D216-16DFC1D962B9}"/>
              </a:ext>
            </a:extLst>
          </p:cNvPr>
          <p:cNvSpPr/>
          <p:nvPr/>
        </p:nvSpPr>
        <p:spPr>
          <a:xfrm>
            <a:off x="804007" y="913016"/>
            <a:ext cx="6480000" cy="264412"/>
          </a:xfrm>
          <a:prstGeom prst="rect">
            <a:avLst/>
          </a:prstGeom>
          <a:solidFill>
            <a:schemeClr val="tx1">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a:solidFill>
                  <a:srgbClr val="FFFFFF"/>
                </a:solidFill>
                <a:latin typeface="+mj-lt"/>
              </a:rPr>
              <a:t>Injury and claim frequency per MMD</a:t>
            </a:r>
          </a:p>
        </p:txBody>
      </p:sp>
      <p:graphicFrame>
        <p:nvGraphicFramePr>
          <p:cNvPr id="68" name="Chart 67">
            <a:extLst>
              <a:ext uri="{FF2B5EF4-FFF2-40B4-BE49-F238E27FC236}">
                <a16:creationId xmlns:a16="http://schemas.microsoft.com/office/drawing/2014/main" id="{2EF21827-3FB2-27BD-E037-ADF60E3A9841}"/>
              </a:ext>
            </a:extLst>
          </p:cNvPr>
          <p:cNvGraphicFramePr>
            <a:graphicFrameLocks/>
          </p:cNvGraphicFramePr>
          <p:nvPr/>
        </p:nvGraphicFramePr>
        <p:xfrm>
          <a:off x="574034" y="1223206"/>
          <a:ext cx="6709972" cy="2145217"/>
        </p:xfrm>
        <a:graphic>
          <a:graphicData uri="http://schemas.openxmlformats.org/drawingml/2006/chart">
            <c:chart xmlns:c="http://schemas.openxmlformats.org/drawingml/2006/chart" xmlns:r="http://schemas.openxmlformats.org/officeDocument/2006/relationships" r:id="rId10"/>
          </a:graphicData>
        </a:graphic>
      </p:graphicFrame>
      <p:sp>
        <p:nvSpPr>
          <p:cNvPr id="71" name="Rectangle 70">
            <a:extLst>
              <a:ext uri="{FF2B5EF4-FFF2-40B4-BE49-F238E27FC236}">
                <a16:creationId xmlns:a16="http://schemas.microsoft.com/office/drawing/2014/main" id="{6156D8A9-6182-6E3E-D7D4-8759A29A5C96}"/>
              </a:ext>
            </a:extLst>
          </p:cNvPr>
          <p:cNvSpPr/>
          <p:nvPr/>
        </p:nvSpPr>
        <p:spPr>
          <a:xfrm>
            <a:off x="864255" y="3493477"/>
            <a:ext cx="6480000" cy="26441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a:solidFill>
                  <a:srgbClr val="FFFFFF"/>
                </a:solidFill>
                <a:latin typeface="+mj-lt"/>
              </a:rPr>
              <a:t>Estimated injuries and claims</a:t>
            </a:r>
          </a:p>
        </p:txBody>
      </p:sp>
      <p:sp>
        <p:nvSpPr>
          <p:cNvPr id="8" name="Rectangle 7">
            <a:extLst>
              <a:ext uri="{FF2B5EF4-FFF2-40B4-BE49-F238E27FC236}">
                <a16:creationId xmlns:a16="http://schemas.microsoft.com/office/drawing/2014/main" id="{C3DD0ED8-91FB-96D9-109E-A526855017E3}"/>
              </a:ext>
            </a:extLst>
          </p:cNvPr>
          <p:cNvSpPr/>
          <p:nvPr/>
        </p:nvSpPr>
        <p:spPr>
          <a:xfrm>
            <a:off x="930112" y="3860830"/>
            <a:ext cx="2680060" cy="14362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1400">
                <a:solidFill>
                  <a:schemeClr val="accent3"/>
                </a:solidFill>
                <a:latin typeface="+mj-lt"/>
              </a:rPr>
              <a:t>Annual number of injuries: </a:t>
            </a:r>
          </a:p>
          <a:p>
            <a:pPr>
              <a:spcBef>
                <a:spcPts val="300"/>
              </a:spcBef>
              <a:spcAft>
                <a:spcPts val="400"/>
              </a:spcAft>
              <a:buSzPct val="75000"/>
            </a:pPr>
            <a:r>
              <a:rPr lang="en-AU" sz="1400" b="1">
                <a:solidFill>
                  <a:schemeClr val="accent3"/>
                </a:solidFill>
                <a:latin typeface="+mj-lt"/>
              </a:rPr>
              <a:t>E-bikes</a:t>
            </a:r>
          </a:p>
          <a:p>
            <a:pPr>
              <a:spcBef>
                <a:spcPts val="300"/>
              </a:spcBef>
              <a:spcAft>
                <a:spcPts val="400"/>
              </a:spcAft>
              <a:buSzPct val="75000"/>
            </a:pPr>
            <a:endParaRPr lang="en-AU" sz="1400" b="1">
              <a:solidFill>
                <a:schemeClr val="accent3"/>
              </a:solidFill>
              <a:latin typeface="+mj-lt"/>
            </a:endParaRPr>
          </a:p>
          <a:p>
            <a:pPr>
              <a:spcBef>
                <a:spcPts val="300"/>
              </a:spcBef>
              <a:spcAft>
                <a:spcPts val="400"/>
              </a:spcAft>
              <a:buSzPct val="75000"/>
            </a:pPr>
            <a:endParaRPr lang="en-AU" sz="1400" b="1">
              <a:solidFill>
                <a:schemeClr val="accent3"/>
              </a:solidFill>
              <a:latin typeface="+mj-lt"/>
            </a:endParaRPr>
          </a:p>
          <a:p>
            <a:pPr>
              <a:spcBef>
                <a:spcPts val="300"/>
              </a:spcBef>
              <a:spcAft>
                <a:spcPts val="400"/>
              </a:spcAft>
              <a:buSzPct val="75000"/>
            </a:pPr>
            <a:r>
              <a:rPr lang="en-AU" sz="1400" b="1">
                <a:solidFill>
                  <a:schemeClr val="accent3"/>
                </a:solidFill>
                <a:latin typeface="+mj-lt"/>
              </a:rPr>
              <a:t>E-scooters</a:t>
            </a:r>
          </a:p>
        </p:txBody>
      </p:sp>
      <p:sp>
        <p:nvSpPr>
          <p:cNvPr id="10" name="Rectangle 9">
            <a:extLst>
              <a:ext uri="{FF2B5EF4-FFF2-40B4-BE49-F238E27FC236}">
                <a16:creationId xmlns:a16="http://schemas.microsoft.com/office/drawing/2014/main" id="{531D788F-22B3-3604-3F2D-1E0E67370FFA}"/>
              </a:ext>
            </a:extLst>
          </p:cNvPr>
          <p:cNvSpPr/>
          <p:nvPr/>
        </p:nvSpPr>
        <p:spPr>
          <a:xfrm>
            <a:off x="804007" y="1276006"/>
            <a:ext cx="6243405" cy="54232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Rectangle 10">
            <a:extLst>
              <a:ext uri="{FF2B5EF4-FFF2-40B4-BE49-F238E27FC236}">
                <a16:creationId xmlns:a16="http://schemas.microsoft.com/office/drawing/2014/main" id="{5B01B51F-B415-4B8F-39B0-5B9FC2CA0FCC}"/>
              </a:ext>
            </a:extLst>
          </p:cNvPr>
          <p:cNvSpPr/>
          <p:nvPr/>
        </p:nvSpPr>
        <p:spPr>
          <a:xfrm>
            <a:off x="804007" y="2060830"/>
            <a:ext cx="6282192" cy="54232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Rectangle 35">
            <a:extLst>
              <a:ext uri="{FF2B5EF4-FFF2-40B4-BE49-F238E27FC236}">
                <a16:creationId xmlns:a16="http://schemas.microsoft.com/office/drawing/2014/main" id="{78ADEDE3-EECF-1155-2253-68DEDA3927A8}"/>
              </a:ext>
            </a:extLst>
          </p:cNvPr>
          <p:cNvSpPr/>
          <p:nvPr/>
        </p:nvSpPr>
        <p:spPr>
          <a:xfrm>
            <a:off x="930112" y="4470448"/>
            <a:ext cx="3874626" cy="4308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2800" b="1" dirty="0">
                <a:solidFill>
                  <a:schemeClr val="accent1"/>
                </a:solidFill>
                <a:latin typeface="+mj-lt"/>
              </a:rPr>
              <a:t>2,950 injuries/year</a:t>
            </a:r>
          </a:p>
        </p:txBody>
      </p:sp>
      <p:sp>
        <p:nvSpPr>
          <p:cNvPr id="37" name="Rectangle 36">
            <a:extLst>
              <a:ext uri="{FF2B5EF4-FFF2-40B4-BE49-F238E27FC236}">
                <a16:creationId xmlns:a16="http://schemas.microsoft.com/office/drawing/2014/main" id="{119FC672-D8A8-A1ED-47DE-87303BD8DA22}"/>
              </a:ext>
            </a:extLst>
          </p:cNvPr>
          <p:cNvSpPr/>
          <p:nvPr/>
        </p:nvSpPr>
        <p:spPr>
          <a:xfrm>
            <a:off x="880085" y="5343082"/>
            <a:ext cx="3874626" cy="4308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2800" b="1">
                <a:solidFill>
                  <a:schemeClr val="accent1"/>
                </a:solidFill>
                <a:latin typeface="+mj-lt"/>
              </a:rPr>
              <a:t>4,800 injuries/year</a:t>
            </a:r>
          </a:p>
        </p:txBody>
      </p:sp>
      <p:sp>
        <p:nvSpPr>
          <p:cNvPr id="40" name="Rectangle 39">
            <a:extLst>
              <a:ext uri="{FF2B5EF4-FFF2-40B4-BE49-F238E27FC236}">
                <a16:creationId xmlns:a16="http://schemas.microsoft.com/office/drawing/2014/main" id="{51FE5058-74FA-A4DA-3AC2-53C8F64DC399}"/>
              </a:ext>
            </a:extLst>
          </p:cNvPr>
          <p:cNvSpPr/>
          <p:nvPr/>
        </p:nvSpPr>
        <p:spPr>
          <a:xfrm>
            <a:off x="4316760" y="3861014"/>
            <a:ext cx="2680060" cy="14362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1400">
                <a:solidFill>
                  <a:schemeClr val="accent3"/>
                </a:solidFill>
                <a:latin typeface="+mj-lt"/>
              </a:rPr>
              <a:t>Annual number of claims: </a:t>
            </a:r>
          </a:p>
          <a:p>
            <a:pPr>
              <a:spcBef>
                <a:spcPts val="300"/>
              </a:spcBef>
              <a:spcAft>
                <a:spcPts val="400"/>
              </a:spcAft>
              <a:buSzPct val="75000"/>
            </a:pPr>
            <a:r>
              <a:rPr lang="en-AU" sz="1400" b="1">
                <a:solidFill>
                  <a:schemeClr val="accent3"/>
                </a:solidFill>
                <a:latin typeface="+mj-lt"/>
              </a:rPr>
              <a:t>E-bikes</a:t>
            </a:r>
          </a:p>
          <a:p>
            <a:pPr>
              <a:spcBef>
                <a:spcPts val="300"/>
              </a:spcBef>
              <a:spcAft>
                <a:spcPts val="400"/>
              </a:spcAft>
              <a:buSzPct val="75000"/>
            </a:pPr>
            <a:endParaRPr lang="en-AU" sz="1400" b="1">
              <a:solidFill>
                <a:schemeClr val="accent3"/>
              </a:solidFill>
              <a:latin typeface="+mj-lt"/>
            </a:endParaRPr>
          </a:p>
          <a:p>
            <a:pPr>
              <a:spcBef>
                <a:spcPts val="300"/>
              </a:spcBef>
              <a:spcAft>
                <a:spcPts val="400"/>
              </a:spcAft>
              <a:buSzPct val="75000"/>
            </a:pPr>
            <a:endParaRPr lang="en-AU" sz="1400" b="1">
              <a:solidFill>
                <a:schemeClr val="accent3"/>
              </a:solidFill>
              <a:latin typeface="+mj-lt"/>
            </a:endParaRPr>
          </a:p>
          <a:p>
            <a:pPr>
              <a:spcBef>
                <a:spcPts val="300"/>
              </a:spcBef>
              <a:spcAft>
                <a:spcPts val="400"/>
              </a:spcAft>
              <a:buSzPct val="75000"/>
            </a:pPr>
            <a:r>
              <a:rPr lang="en-AU" sz="1400" b="1">
                <a:solidFill>
                  <a:schemeClr val="accent3"/>
                </a:solidFill>
                <a:latin typeface="+mj-lt"/>
              </a:rPr>
              <a:t>E-scooters</a:t>
            </a:r>
          </a:p>
        </p:txBody>
      </p:sp>
      <p:sp>
        <p:nvSpPr>
          <p:cNvPr id="41" name="Rectangle 40">
            <a:extLst>
              <a:ext uri="{FF2B5EF4-FFF2-40B4-BE49-F238E27FC236}">
                <a16:creationId xmlns:a16="http://schemas.microsoft.com/office/drawing/2014/main" id="{90D85836-3D03-DC8A-6385-381183C7E9BB}"/>
              </a:ext>
            </a:extLst>
          </p:cNvPr>
          <p:cNvSpPr/>
          <p:nvPr/>
        </p:nvSpPr>
        <p:spPr>
          <a:xfrm>
            <a:off x="4257554" y="4492218"/>
            <a:ext cx="3874626" cy="4308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2800" b="1">
                <a:solidFill>
                  <a:schemeClr val="tx2">
                    <a:lumMod val="75000"/>
                    <a:lumOff val="25000"/>
                  </a:schemeClr>
                </a:solidFill>
                <a:latin typeface="+mj-lt"/>
              </a:rPr>
              <a:t>1,930 claims/year</a:t>
            </a:r>
          </a:p>
        </p:txBody>
      </p:sp>
      <p:sp>
        <p:nvSpPr>
          <p:cNvPr id="43" name="Rectangle 42">
            <a:extLst>
              <a:ext uri="{FF2B5EF4-FFF2-40B4-BE49-F238E27FC236}">
                <a16:creationId xmlns:a16="http://schemas.microsoft.com/office/drawing/2014/main" id="{4E12BF8D-5DC0-AEDC-A60E-A31E9018D9EB}"/>
              </a:ext>
            </a:extLst>
          </p:cNvPr>
          <p:cNvSpPr/>
          <p:nvPr/>
        </p:nvSpPr>
        <p:spPr>
          <a:xfrm>
            <a:off x="4246023" y="5361234"/>
            <a:ext cx="2903676" cy="4308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400"/>
              </a:spcAft>
              <a:buSzPct val="75000"/>
            </a:pPr>
            <a:r>
              <a:rPr lang="en-AU" sz="2800" b="1">
                <a:solidFill>
                  <a:schemeClr val="tx2">
                    <a:lumMod val="75000"/>
                    <a:lumOff val="25000"/>
                  </a:schemeClr>
                </a:solidFill>
                <a:latin typeface="+mj-lt"/>
              </a:rPr>
              <a:t>2,860 claims/year</a:t>
            </a:r>
          </a:p>
        </p:txBody>
      </p:sp>
      <p:pic>
        <p:nvPicPr>
          <p:cNvPr id="12" name="Picture 11">
            <a:extLst>
              <a:ext uri="{FF2B5EF4-FFF2-40B4-BE49-F238E27FC236}">
                <a16:creationId xmlns:a16="http://schemas.microsoft.com/office/drawing/2014/main" id="{0E563539-ECB3-77F2-963D-E4FD3067784F}"/>
              </a:ext>
            </a:extLst>
          </p:cNvPr>
          <p:cNvPicPr>
            <a:picLocks noChangeAspect="1"/>
          </p:cNvPicPr>
          <p:nvPr/>
        </p:nvPicPr>
        <p:blipFill>
          <a:blip r:embed="rId11"/>
          <a:srcRect r="80267" b="75077"/>
          <a:stretch>
            <a:fillRect/>
          </a:stretch>
        </p:blipFill>
        <p:spPr>
          <a:xfrm>
            <a:off x="8417640" y="4200507"/>
            <a:ext cx="638089" cy="682268"/>
          </a:xfrm>
          <a:prstGeom prst="rect">
            <a:avLst/>
          </a:prstGeom>
        </p:spPr>
      </p:pic>
      <p:pic>
        <p:nvPicPr>
          <p:cNvPr id="13" name="Picture 12">
            <a:extLst>
              <a:ext uri="{FF2B5EF4-FFF2-40B4-BE49-F238E27FC236}">
                <a16:creationId xmlns:a16="http://schemas.microsoft.com/office/drawing/2014/main" id="{43477A61-292E-B1F0-53AF-F5E5FB3F788A}"/>
              </a:ext>
            </a:extLst>
          </p:cNvPr>
          <p:cNvPicPr>
            <a:picLocks noChangeAspect="1"/>
          </p:cNvPicPr>
          <p:nvPr/>
        </p:nvPicPr>
        <p:blipFill>
          <a:blip r:embed="rId11"/>
          <a:srcRect l="41" t="22937" r="80226" b="52140"/>
          <a:stretch>
            <a:fillRect/>
          </a:stretch>
        </p:blipFill>
        <p:spPr>
          <a:xfrm>
            <a:off x="9236003" y="4162076"/>
            <a:ext cx="638089" cy="682268"/>
          </a:xfrm>
          <a:prstGeom prst="rect">
            <a:avLst/>
          </a:prstGeom>
        </p:spPr>
      </p:pic>
      <p:pic>
        <p:nvPicPr>
          <p:cNvPr id="14" name="Picture 13">
            <a:extLst>
              <a:ext uri="{FF2B5EF4-FFF2-40B4-BE49-F238E27FC236}">
                <a16:creationId xmlns:a16="http://schemas.microsoft.com/office/drawing/2014/main" id="{306E61DA-F747-F043-349D-D21472948D18}"/>
              </a:ext>
            </a:extLst>
          </p:cNvPr>
          <p:cNvPicPr>
            <a:picLocks noChangeAspect="1"/>
          </p:cNvPicPr>
          <p:nvPr/>
        </p:nvPicPr>
        <p:blipFill>
          <a:blip r:embed="rId11"/>
          <a:srcRect l="314" t="49102" r="79953" b="25975"/>
          <a:stretch>
            <a:fillRect/>
          </a:stretch>
        </p:blipFill>
        <p:spPr>
          <a:xfrm>
            <a:off x="10054367" y="4200507"/>
            <a:ext cx="638089" cy="682268"/>
          </a:xfrm>
          <a:prstGeom prst="rect">
            <a:avLst/>
          </a:prstGeom>
        </p:spPr>
      </p:pic>
      <p:pic>
        <p:nvPicPr>
          <p:cNvPr id="15" name="Picture 14">
            <a:extLst>
              <a:ext uri="{FF2B5EF4-FFF2-40B4-BE49-F238E27FC236}">
                <a16:creationId xmlns:a16="http://schemas.microsoft.com/office/drawing/2014/main" id="{3C05B238-DA88-0FDE-2576-2CD7A00A44C6}"/>
              </a:ext>
            </a:extLst>
          </p:cNvPr>
          <p:cNvPicPr>
            <a:picLocks noChangeAspect="1"/>
          </p:cNvPicPr>
          <p:nvPr/>
        </p:nvPicPr>
        <p:blipFill>
          <a:blip r:embed="rId11"/>
          <a:srcRect l="182" t="75115" r="80085" b="-38"/>
          <a:stretch>
            <a:fillRect/>
          </a:stretch>
        </p:blipFill>
        <p:spPr>
          <a:xfrm>
            <a:off x="10949938" y="4244578"/>
            <a:ext cx="638089" cy="682268"/>
          </a:xfrm>
          <a:prstGeom prst="rect">
            <a:avLst/>
          </a:prstGeom>
        </p:spPr>
      </p:pic>
      <p:pic>
        <p:nvPicPr>
          <p:cNvPr id="16" name="Graphic 15" descr="Tricycle with solid fill">
            <a:extLst>
              <a:ext uri="{FF2B5EF4-FFF2-40B4-BE49-F238E27FC236}">
                <a16:creationId xmlns:a16="http://schemas.microsoft.com/office/drawing/2014/main" id="{D47BCB24-05A8-80FA-8707-81A8FC1FFC7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658364" y="4870545"/>
            <a:ext cx="620665" cy="597224"/>
          </a:xfrm>
          <a:prstGeom prst="rect">
            <a:avLst/>
          </a:prstGeom>
        </p:spPr>
      </p:pic>
      <p:grpSp>
        <p:nvGrpSpPr>
          <p:cNvPr id="17" name="Group 16">
            <a:extLst>
              <a:ext uri="{FF2B5EF4-FFF2-40B4-BE49-F238E27FC236}">
                <a16:creationId xmlns:a16="http://schemas.microsoft.com/office/drawing/2014/main" id="{54E2E3D3-383C-D3AC-6249-F124E581DDAE}"/>
              </a:ext>
            </a:extLst>
          </p:cNvPr>
          <p:cNvGrpSpPr/>
          <p:nvPr/>
        </p:nvGrpSpPr>
        <p:grpSpPr>
          <a:xfrm>
            <a:off x="7616696" y="5591598"/>
            <a:ext cx="620669" cy="417135"/>
            <a:chOff x="14823761" y="602301"/>
            <a:chExt cx="620669" cy="417135"/>
          </a:xfrm>
        </p:grpSpPr>
        <p:sp>
          <p:nvSpPr>
            <p:cNvPr id="18" name="Rectangle 17">
              <a:extLst>
                <a:ext uri="{FF2B5EF4-FFF2-40B4-BE49-F238E27FC236}">
                  <a16:creationId xmlns:a16="http://schemas.microsoft.com/office/drawing/2014/main" id="{A897C899-C8CF-1694-308A-3F16F22173ED}"/>
                </a:ext>
              </a:extLst>
            </p:cNvPr>
            <p:cNvSpPr/>
            <p:nvPr/>
          </p:nvSpPr>
          <p:spPr>
            <a:xfrm>
              <a:off x="14989868" y="888150"/>
              <a:ext cx="343271" cy="75703"/>
            </a:xfrm>
            <a:prstGeom prst="rect">
              <a:avLst/>
            </a:prstGeom>
            <a:solidFill>
              <a:srgbClr val="74748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2E2E38"/>
                </a:solidFill>
                <a:effectLst/>
                <a:uLnTx/>
                <a:uFillTx/>
                <a:latin typeface="Arial"/>
                <a:ea typeface="+mn-ea"/>
                <a:cs typeface="+mn-cs"/>
              </a:endParaRPr>
            </a:p>
          </p:txBody>
        </p:sp>
        <p:pic>
          <p:nvPicPr>
            <p:cNvPr id="19" name="Graphic 18" descr="Harvey Balls 100% with solid fill">
              <a:extLst>
                <a:ext uri="{FF2B5EF4-FFF2-40B4-BE49-F238E27FC236}">
                  <a16:creationId xmlns:a16="http://schemas.microsoft.com/office/drawing/2014/main" id="{867017B0-3237-9095-4DF0-3F458DE39CBB}"/>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823761" y="839278"/>
              <a:ext cx="213814" cy="180158"/>
            </a:xfrm>
            <a:prstGeom prst="rect">
              <a:avLst/>
            </a:prstGeom>
          </p:spPr>
        </p:pic>
        <p:sp>
          <p:nvSpPr>
            <p:cNvPr id="20" name="Rectangle 19">
              <a:extLst>
                <a:ext uri="{FF2B5EF4-FFF2-40B4-BE49-F238E27FC236}">
                  <a16:creationId xmlns:a16="http://schemas.microsoft.com/office/drawing/2014/main" id="{887207FF-26C9-2F9D-1C9F-62A3214AABC6}"/>
                </a:ext>
              </a:extLst>
            </p:cNvPr>
            <p:cNvSpPr/>
            <p:nvPr/>
          </p:nvSpPr>
          <p:spPr>
            <a:xfrm rot="4502646">
              <a:off x="15170055" y="718547"/>
              <a:ext cx="284970" cy="52477"/>
            </a:xfrm>
            <a:prstGeom prst="rect">
              <a:avLst/>
            </a:prstGeom>
            <a:solidFill>
              <a:srgbClr val="74748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2E2E38"/>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D2C3370F-A262-5578-EC2B-C13027903503}"/>
                </a:ext>
              </a:extLst>
            </p:cNvPr>
            <p:cNvSpPr/>
            <p:nvPr/>
          </p:nvSpPr>
          <p:spPr>
            <a:xfrm>
              <a:off x="15210554" y="607166"/>
              <a:ext cx="60517" cy="44217"/>
            </a:xfrm>
            <a:prstGeom prst="rect">
              <a:avLst/>
            </a:prstGeom>
            <a:solidFill>
              <a:srgbClr val="74748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2E2E38"/>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9739FE66-3BD3-77F8-0DB1-5233B5429642}"/>
                </a:ext>
              </a:extLst>
            </p:cNvPr>
            <p:cNvSpPr/>
            <p:nvPr/>
          </p:nvSpPr>
          <p:spPr>
            <a:xfrm rot="19224602">
              <a:off x="15110130" y="836860"/>
              <a:ext cx="265176" cy="63024"/>
            </a:xfrm>
            <a:prstGeom prst="rect">
              <a:avLst/>
            </a:prstGeom>
            <a:solidFill>
              <a:srgbClr val="74748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2E2E38"/>
                </a:solidFill>
                <a:effectLst/>
                <a:uLnTx/>
                <a:uFillTx/>
                <a:latin typeface="Arial"/>
                <a:ea typeface="+mn-ea"/>
                <a:cs typeface="+mn-cs"/>
              </a:endParaRPr>
            </a:p>
          </p:txBody>
        </p:sp>
        <p:pic>
          <p:nvPicPr>
            <p:cNvPr id="23" name="Graphic 22" descr="Harvey Balls 100% with solid fill">
              <a:extLst>
                <a:ext uri="{FF2B5EF4-FFF2-40B4-BE49-F238E27FC236}">
                  <a16:creationId xmlns:a16="http://schemas.microsoft.com/office/drawing/2014/main" id="{B3F4AD96-1AAE-036A-EB5B-AAF3A92224BA}"/>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5217176" y="826938"/>
              <a:ext cx="227254" cy="191482"/>
            </a:xfrm>
            <a:prstGeom prst="rect">
              <a:avLst/>
            </a:prstGeom>
          </p:spPr>
        </p:pic>
      </p:grpSp>
      <p:sp>
        <p:nvSpPr>
          <p:cNvPr id="24" name="TextBox 23">
            <a:extLst>
              <a:ext uri="{FF2B5EF4-FFF2-40B4-BE49-F238E27FC236}">
                <a16:creationId xmlns:a16="http://schemas.microsoft.com/office/drawing/2014/main" id="{3552B4BC-D201-F8D8-E8AF-9453CA8AA3E8}"/>
              </a:ext>
            </a:extLst>
          </p:cNvPr>
          <p:cNvSpPr txBox="1"/>
          <p:nvPr/>
        </p:nvSpPr>
        <p:spPr>
          <a:xfrm>
            <a:off x="8417639" y="5007858"/>
            <a:ext cx="1526839" cy="369332"/>
          </a:xfrm>
          <a:prstGeom prst="rect">
            <a:avLst/>
          </a:prstGeom>
          <a:solidFill>
            <a:schemeClr val="accent5">
              <a:lumMod val="20000"/>
              <a:lumOff val="80000"/>
            </a:schemeClr>
          </a:solidFill>
        </p:spPr>
        <p:txBody>
          <a:bodyPr wrap="square" rtlCol="0">
            <a:spAutoFit/>
          </a:bodyPr>
          <a:lstStyle/>
          <a:p>
            <a:pPr algn="ctr"/>
            <a:r>
              <a:rPr lang="en-AU">
                <a:solidFill>
                  <a:schemeClr val="accent3"/>
                </a:solidFill>
              </a:rPr>
              <a:t>88%</a:t>
            </a:r>
          </a:p>
        </p:txBody>
      </p:sp>
      <p:sp>
        <p:nvSpPr>
          <p:cNvPr id="25" name="TextBox 24">
            <a:extLst>
              <a:ext uri="{FF2B5EF4-FFF2-40B4-BE49-F238E27FC236}">
                <a16:creationId xmlns:a16="http://schemas.microsoft.com/office/drawing/2014/main" id="{0C6B8CFC-3D07-08CE-1D01-35AE25168299}"/>
              </a:ext>
            </a:extLst>
          </p:cNvPr>
          <p:cNvSpPr txBox="1">
            <a:spLocks/>
          </p:cNvSpPr>
          <p:nvPr/>
        </p:nvSpPr>
        <p:spPr>
          <a:xfrm>
            <a:off x="10059196" y="5005794"/>
            <a:ext cx="707185" cy="369332"/>
          </a:xfrm>
          <a:prstGeom prst="rect">
            <a:avLst/>
          </a:prstGeom>
          <a:solidFill>
            <a:schemeClr val="accent5">
              <a:lumMod val="20000"/>
              <a:lumOff val="80000"/>
            </a:schemeClr>
          </a:solidFill>
        </p:spPr>
        <p:txBody>
          <a:bodyPr wrap="square" rtlCol="0">
            <a:spAutoFit/>
          </a:bodyPr>
          <a:lstStyle/>
          <a:p>
            <a:pPr algn="ctr"/>
            <a:r>
              <a:rPr lang="en-AU">
                <a:solidFill>
                  <a:schemeClr val="accent3"/>
                </a:solidFill>
              </a:rPr>
              <a:t>63%</a:t>
            </a:r>
          </a:p>
        </p:txBody>
      </p:sp>
      <p:sp>
        <p:nvSpPr>
          <p:cNvPr id="26" name="TextBox 25">
            <a:extLst>
              <a:ext uri="{FF2B5EF4-FFF2-40B4-BE49-F238E27FC236}">
                <a16:creationId xmlns:a16="http://schemas.microsoft.com/office/drawing/2014/main" id="{D0694265-10D5-CA29-AEAD-043FEFF6D0FE}"/>
              </a:ext>
            </a:extLst>
          </p:cNvPr>
          <p:cNvSpPr txBox="1">
            <a:spLocks/>
          </p:cNvSpPr>
          <p:nvPr/>
        </p:nvSpPr>
        <p:spPr>
          <a:xfrm>
            <a:off x="10881099" y="5005794"/>
            <a:ext cx="707185" cy="369332"/>
          </a:xfrm>
          <a:prstGeom prst="rect">
            <a:avLst/>
          </a:prstGeom>
          <a:solidFill>
            <a:schemeClr val="accent5">
              <a:lumMod val="20000"/>
              <a:lumOff val="80000"/>
            </a:schemeClr>
          </a:solidFill>
        </p:spPr>
        <p:txBody>
          <a:bodyPr wrap="square" rtlCol="0">
            <a:spAutoFit/>
          </a:bodyPr>
          <a:lstStyle/>
          <a:p>
            <a:pPr algn="ctr"/>
            <a:r>
              <a:rPr lang="en-AU">
                <a:solidFill>
                  <a:schemeClr val="accent3"/>
                </a:solidFill>
              </a:rPr>
              <a:t>95%</a:t>
            </a:r>
          </a:p>
        </p:txBody>
      </p:sp>
      <p:sp>
        <p:nvSpPr>
          <p:cNvPr id="27" name="TextBox 26">
            <a:extLst>
              <a:ext uri="{FF2B5EF4-FFF2-40B4-BE49-F238E27FC236}">
                <a16:creationId xmlns:a16="http://schemas.microsoft.com/office/drawing/2014/main" id="{63AF41FC-2409-9AD1-5E58-FAF8F7A81C51}"/>
              </a:ext>
            </a:extLst>
          </p:cNvPr>
          <p:cNvSpPr txBox="1">
            <a:spLocks/>
          </p:cNvSpPr>
          <p:nvPr/>
        </p:nvSpPr>
        <p:spPr>
          <a:xfrm>
            <a:off x="10059196" y="5629423"/>
            <a:ext cx="707185" cy="369332"/>
          </a:xfrm>
          <a:prstGeom prst="rect">
            <a:avLst/>
          </a:prstGeom>
          <a:solidFill>
            <a:schemeClr val="accent5">
              <a:lumMod val="20000"/>
              <a:lumOff val="80000"/>
            </a:schemeClr>
          </a:solidFill>
        </p:spPr>
        <p:txBody>
          <a:bodyPr wrap="square" rtlCol="0">
            <a:spAutoFit/>
          </a:bodyPr>
          <a:lstStyle/>
          <a:p>
            <a:pPr algn="ctr"/>
            <a:r>
              <a:rPr lang="en-AU">
                <a:solidFill>
                  <a:schemeClr val="accent3"/>
                </a:solidFill>
              </a:rPr>
              <a:t>49%</a:t>
            </a:r>
          </a:p>
        </p:txBody>
      </p:sp>
      <p:sp>
        <p:nvSpPr>
          <p:cNvPr id="28" name="TextBox 27">
            <a:extLst>
              <a:ext uri="{FF2B5EF4-FFF2-40B4-BE49-F238E27FC236}">
                <a16:creationId xmlns:a16="http://schemas.microsoft.com/office/drawing/2014/main" id="{08D786E4-EC6C-2579-609B-222D9CACD2CD}"/>
              </a:ext>
            </a:extLst>
          </p:cNvPr>
          <p:cNvSpPr txBox="1">
            <a:spLocks/>
          </p:cNvSpPr>
          <p:nvPr/>
        </p:nvSpPr>
        <p:spPr>
          <a:xfrm>
            <a:off x="10881099" y="5629423"/>
            <a:ext cx="707185" cy="369332"/>
          </a:xfrm>
          <a:prstGeom prst="rect">
            <a:avLst/>
          </a:prstGeom>
          <a:solidFill>
            <a:schemeClr val="accent5">
              <a:lumMod val="20000"/>
              <a:lumOff val="80000"/>
            </a:schemeClr>
          </a:solidFill>
        </p:spPr>
        <p:txBody>
          <a:bodyPr wrap="square" rtlCol="0">
            <a:spAutoFit/>
          </a:bodyPr>
          <a:lstStyle/>
          <a:p>
            <a:pPr algn="ctr"/>
            <a:r>
              <a:rPr lang="en-AU">
                <a:solidFill>
                  <a:schemeClr val="accent3"/>
                </a:solidFill>
              </a:rPr>
              <a:t>100%</a:t>
            </a:r>
          </a:p>
        </p:txBody>
      </p:sp>
      <p:sp>
        <p:nvSpPr>
          <p:cNvPr id="30" name="TextBox 29">
            <a:extLst>
              <a:ext uri="{FF2B5EF4-FFF2-40B4-BE49-F238E27FC236}">
                <a16:creationId xmlns:a16="http://schemas.microsoft.com/office/drawing/2014/main" id="{7E278174-08DD-0F1B-524D-8B97DAB865D3}"/>
              </a:ext>
            </a:extLst>
          </p:cNvPr>
          <p:cNvSpPr txBox="1">
            <a:spLocks/>
          </p:cNvSpPr>
          <p:nvPr/>
        </p:nvSpPr>
        <p:spPr>
          <a:xfrm>
            <a:off x="9237294" y="5629423"/>
            <a:ext cx="707185" cy="369332"/>
          </a:xfrm>
          <a:prstGeom prst="rect">
            <a:avLst/>
          </a:prstGeom>
          <a:solidFill>
            <a:schemeClr val="accent5">
              <a:lumMod val="20000"/>
              <a:lumOff val="80000"/>
            </a:schemeClr>
          </a:solidFill>
        </p:spPr>
        <p:txBody>
          <a:bodyPr wrap="square" rtlCol="0">
            <a:spAutoFit/>
          </a:bodyPr>
          <a:lstStyle/>
          <a:p>
            <a:pPr algn="ctr"/>
            <a:r>
              <a:rPr lang="en-AU">
                <a:solidFill>
                  <a:schemeClr val="accent3"/>
                </a:solidFill>
              </a:rPr>
              <a:t>75%</a:t>
            </a:r>
          </a:p>
        </p:txBody>
      </p:sp>
      <p:sp>
        <p:nvSpPr>
          <p:cNvPr id="31" name="TextBox 30">
            <a:extLst>
              <a:ext uri="{FF2B5EF4-FFF2-40B4-BE49-F238E27FC236}">
                <a16:creationId xmlns:a16="http://schemas.microsoft.com/office/drawing/2014/main" id="{C291086A-8604-06C4-0784-435654B7E10A}"/>
              </a:ext>
            </a:extLst>
          </p:cNvPr>
          <p:cNvSpPr txBox="1">
            <a:spLocks/>
          </p:cNvSpPr>
          <p:nvPr/>
        </p:nvSpPr>
        <p:spPr>
          <a:xfrm>
            <a:off x="8415392" y="5629423"/>
            <a:ext cx="707185" cy="369332"/>
          </a:xfrm>
          <a:prstGeom prst="rect">
            <a:avLst/>
          </a:prstGeom>
          <a:solidFill>
            <a:schemeClr val="accent5">
              <a:lumMod val="20000"/>
              <a:lumOff val="80000"/>
            </a:schemeClr>
          </a:solidFill>
        </p:spPr>
        <p:txBody>
          <a:bodyPr wrap="square" rtlCol="0">
            <a:spAutoFit/>
          </a:bodyPr>
          <a:lstStyle/>
          <a:p>
            <a:pPr algn="ctr"/>
            <a:r>
              <a:rPr lang="en-AU">
                <a:solidFill>
                  <a:schemeClr val="accent3"/>
                </a:solidFill>
              </a:rPr>
              <a:t>55%</a:t>
            </a:r>
          </a:p>
        </p:txBody>
      </p:sp>
      <p:sp>
        <p:nvSpPr>
          <p:cNvPr id="34" name="Right Brace 33">
            <a:extLst>
              <a:ext uri="{FF2B5EF4-FFF2-40B4-BE49-F238E27FC236}">
                <a16:creationId xmlns:a16="http://schemas.microsoft.com/office/drawing/2014/main" id="{879C56AD-861A-2E85-ED3F-7DA433ED19A1}"/>
              </a:ext>
            </a:extLst>
          </p:cNvPr>
          <p:cNvSpPr/>
          <p:nvPr/>
        </p:nvSpPr>
        <p:spPr>
          <a:xfrm rot="5400000">
            <a:off x="9118940" y="4432898"/>
            <a:ext cx="124235" cy="1021557"/>
          </a:xfrm>
          <a:prstGeom prst="rightBrace">
            <a:avLst>
              <a:gd name="adj1" fmla="val 79123"/>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35" name="TextBox 34">
            <a:extLst>
              <a:ext uri="{FF2B5EF4-FFF2-40B4-BE49-F238E27FC236}">
                <a16:creationId xmlns:a16="http://schemas.microsoft.com/office/drawing/2014/main" id="{F179F585-BB6E-3882-8CFF-D19C86840475}"/>
              </a:ext>
            </a:extLst>
          </p:cNvPr>
          <p:cNvSpPr txBox="1">
            <a:spLocks/>
          </p:cNvSpPr>
          <p:nvPr/>
        </p:nvSpPr>
        <p:spPr>
          <a:xfrm>
            <a:off x="8203027" y="4012866"/>
            <a:ext cx="892346" cy="221664"/>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750E5C"/>
              </a:buClr>
              <a:buSzPct val="70000"/>
              <a:buFontTx/>
              <a:buNone/>
              <a:tabLst/>
              <a:defRPr/>
            </a:pPr>
            <a:r>
              <a:rPr kumimoji="0" lang="en-AU" sz="1400" b="1" i="0" u="none" strike="noStrike" kern="0" cap="none" spc="0" normalizeH="0" baseline="0" noProof="0">
                <a:ln>
                  <a:noFill/>
                </a:ln>
                <a:solidFill>
                  <a:schemeClr val="accent1"/>
                </a:solidFill>
                <a:effectLst/>
                <a:uLnTx/>
                <a:uFillTx/>
                <a:latin typeface="+mj-lt"/>
              </a:rPr>
              <a:t>No alcohol</a:t>
            </a:r>
          </a:p>
        </p:txBody>
      </p:sp>
      <p:sp>
        <p:nvSpPr>
          <p:cNvPr id="42" name="TextBox 41">
            <a:extLst>
              <a:ext uri="{FF2B5EF4-FFF2-40B4-BE49-F238E27FC236}">
                <a16:creationId xmlns:a16="http://schemas.microsoft.com/office/drawing/2014/main" id="{A0594F12-FF64-347D-BAD5-BA4CE1368986}"/>
              </a:ext>
            </a:extLst>
          </p:cNvPr>
          <p:cNvSpPr txBox="1">
            <a:spLocks/>
          </p:cNvSpPr>
          <p:nvPr/>
        </p:nvSpPr>
        <p:spPr>
          <a:xfrm>
            <a:off x="9085830" y="4022914"/>
            <a:ext cx="892346" cy="221664"/>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750E5C"/>
              </a:buClr>
              <a:buSzPct val="70000"/>
              <a:buFontTx/>
              <a:buNone/>
              <a:tabLst/>
              <a:defRPr/>
            </a:pPr>
            <a:r>
              <a:rPr kumimoji="0" lang="en-AU" sz="1400" b="1" i="0" u="none" strike="noStrike" kern="0" cap="none" spc="0" normalizeH="0" baseline="0" noProof="0">
                <a:ln>
                  <a:noFill/>
                </a:ln>
                <a:solidFill>
                  <a:schemeClr val="accent1"/>
                </a:solidFill>
                <a:effectLst/>
                <a:uLnTx/>
                <a:uFillTx/>
                <a:latin typeface="+mj-lt"/>
              </a:rPr>
              <a:t>No drug</a:t>
            </a:r>
          </a:p>
        </p:txBody>
      </p:sp>
      <p:sp>
        <p:nvSpPr>
          <p:cNvPr id="44" name="TextBox 43">
            <a:extLst>
              <a:ext uri="{FF2B5EF4-FFF2-40B4-BE49-F238E27FC236}">
                <a16:creationId xmlns:a16="http://schemas.microsoft.com/office/drawing/2014/main" id="{0ECF9D73-E31B-DE86-E477-12DF3BF17855}"/>
              </a:ext>
            </a:extLst>
          </p:cNvPr>
          <p:cNvSpPr txBox="1">
            <a:spLocks/>
          </p:cNvSpPr>
          <p:nvPr/>
        </p:nvSpPr>
        <p:spPr>
          <a:xfrm>
            <a:off x="9920755" y="3874004"/>
            <a:ext cx="892346" cy="404791"/>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750E5C"/>
              </a:buClr>
              <a:buSzPct val="70000"/>
              <a:buFontTx/>
              <a:buNone/>
              <a:tabLst/>
              <a:defRPr/>
            </a:pPr>
            <a:r>
              <a:rPr kumimoji="0" lang="en-AU" sz="1400" b="1" i="0" u="none" strike="noStrike" kern="0" cap="none" spc="0" normalizeH="0" baseline="0" noProof="0">
                <a:ln>
                  <a:noFill/>
                </a:ln>
                <a:solidFill>
                  <a:schemeClr val="accent1"/>
                </a:solidFill>
                <a:effectLst/>
                <a:uLnTx/>
                <a:uFillTx/>
                <a:latin typeface="+mj-lt"/>
              </a:rPr>
              <a:t>Wear helmet</a:t>
            </a:r>
          </a:p>
        </p:txBody>
      </p:sp>
      <p:sp>
        <p:nvSpPr>
          <p:cNvPr id="45" name="TextBox 44">
            <a:extLst>
              <a:ext uri="{FF2B5EF4-FFF2-40B4-BE49-F238E27FC236}">
                <a16:creationId xmlns:a16="http://schemas.microsoft.com/office/drawing/2014/main" id="{4816929A-9223-0E00-C76A-16B35F05B112}"/>
              </a:ext>
            </a:extLst>
          </p:cNvPr>
          <p:cNvSpPr txBox="1">
            <a:spLocks/>
          </p:cNvSpPr>
          <p:nvPr/>
        </p:nvSpPr>
        <p:spPr>
          <a:xfrm>
            <a:off x="10846139" y="3874004"/>
            <a:ext cx="892346" cy="404791"/>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750E5C"/>
              </a:buClr>
              <a:buSzPct val="70000"/>
              <a:buFontTx/>
              <a:buNone/>
              <a:tabLst/>
              <a:defRPr/>
            </a:pPr>
            <a:r>
              <a:rPr kumimoji="0" lang="en-AU" sz="1400" b="1" i="0" u="none" strike="noStrike" kern="0" cap="none" spc="0" normalizeH="0" baseline="0" noProof="0">
                <a:ln>
                  <a:noFill/>
                </a:ln>
                <a:solidFill>
                  <a:schemeClr val="accent1"/>
                </a:solidFill>
                <a:effectLst/>
                <a:uLnTx/>
                <a:uFillTx/>
                <a:latin typeface="+mj-lt"/>
              </a:rPr>
              <a:t>Legal design</a:t>
            </a:r>
          </a:p>
        </p:txBody>
      </p:sp>
      <p:sp>
        <p:nvSpPr>
          <p:cNvPr id="47" name="Rectangle 46">
            <a:extLst>
              <a:ext uri="{FF2B5EF4-FFF2-40B4-BE49-F238E27FC236}">
                <a16:creationId xmlns:a16="http://schemas.microsoft.com/office/drawing/2014/main" id="{6916DF7D-CEC2-C59D-0C7F-82D19AD42F68}"/>
              </a:ext>
            </a:extLst>
          </p:cNvPr>
          <p:cNvSpPr/>
          <p:nvPr/>
        </p:nvSpPr>
        <p:spPr>
          <a:xfrm>
            <a:off x="7623574" y="3488133"/>
            <a:ext cx="4140000" cy="264412"/>
          </a:xfrm>
          <a:prstGeom prst="rect">
            <a:avLst/>
          </a:prstGeom>
          <a:solidFill>
            <a:schemeClr val="tx1">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400" b="1">
                <a:solidFill>
                  <a:srgbClr val="FFFFFF"/>
                </a:solidFill>
              </a:rPr>
              <a:t>MMDs used in a legal manner</a:t>
            </a:r>
          </a:p>
        </p:txBody>
      </p:sp>
      <p:graphicFrame>
        <p:nvGraphicFramePr>
          <p:cNvPr id="5" name="Chart 4">
            <a:extLst>
              <a:ext uri="{FF2B5EF4-FFF2-40B4-BE49-F238E27FC236}">
                <a16:creationId xmlns:a16="http://schemas.microsoft.com/office/drawing/2014/main" id="{051DB048-A1ED-34E8-10D4-CC7617D1EB65}"/>
              </a:ext>
            </a:extLst>
          </p:cNvPr>
          <p:cNvGraphicFramePr>
            <a:graphicFrameLocks/>
          </p:cNvGraphicFramePr>
          <p:nvPr>
            <p:extLst>
              <p:ext uri="{D42A27DB-BD31-4B8C-83A1-F6EECF244321}">
                <p14:modId xmlns:p14="http://schemas.microsoft.com/office/powerpoint/2010/main" val="3555513335"/>
              </p:ext>
            </p:extLst>
          </p:nvPr>
        </p:nvGraphicFramePr>
        <p:xfrm>
          <a:off x="12201305" y="-106159"/>
          <a:ext cx="4572000" cy="2038350"/>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54" name="Chart 53">
            <a:extLst>
              <a:ext uri="{FF2B5EF4-FFF2-40B4-BE49-F238E27FC236}">
                <a16:creationId xmlns:a16="http://schemas.microsoft.com/office/drawing/2014/main" id="{4DF70CA6-796E-20DE-D59A-E8C80FF2463B}"/>
              </a:ext>
            </a:extLst>
          </p:cNvPr>
          <p:cNvGraphicFramePr>
            <a:graphicFrameLocks/>
          </p:cNvGraphicFramePr>
          <p:nvPr>
            <p:extLst>
              <p:ext uri="{D42A27DB-BD31-4B8C-83A1-F6EECF244321}">
                <p14:modId xmlns:p14="http://schemas.microsoft.com/office/powerpoint/2010/main" val="1577664781"/>
              </p:ext>
            </p:extLst>
          </p:nvPr>
        </p:nvGraphicFramePr>
        <p:xfrm>
          <a:off x="8278867" y="2013853"/>
          <a:ext cx="3180316" cy="1340749"/>
        </p:xfrm>
        <a:graphic>
          <a:graphicData uri="http://schemas.openxmlformats.org/drawingml/2006/chart">
            <c:chart xmlns:c="http://schemas.openxmlformats.org/drawingml/2006/chart" xmlns:r="http://schemas.openxmlformats.org/officeDocument/2006/relationships" r:id="rId19"/>
          </a:graphicData>
        </a:graphic>
      </p:graphicFrame>
    </p:spTree>
    <p:extLst>
      <p:ext uri="{BB962C8B-B14F-4D97-AF65-F5344CB8AC3E}">
        <p14:creationId xmlns:p14="http://schemas.microsoft.com/office/powerpoint/2010/main" val="42034390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Y6_ND1YQYy16M4q4NNqnQ"/>
</p:tagLst>
</file>

<file path=ppt/theme/theme1.xml><?xml version="1.0" encoding="utf-8"?>
<a:theme xmlns:a="http://schemas.openxmlformats.org/drawingml/2006/main" name="Office Theme">
  <a:themeElements>
    <a:clrScheme name="Actuaries">
      <a:dk1>
        <a:srgbClr val="000000"/>
      </a:dk1>
      <a:lt1>
        <a:srgbClr val="FFFFFF"/>
      </a:lt1>
      <a:dk2>
        <a:srgbClr val="323232"/>
      </a:dk2>
      <a:lt2>
        <a:srgbClr val="EBEBEB"/>
      </a:lt2>
      <a:accent1>
        <a:srgbClr val="3C69FF"/>
      </a:accent1>
      <a:accent2>
        <a:srgbClr val="313131"/>
      </a:accent2>
      <a:accent3>
        <a:srgbClr val="5B5B5B"/>
      </a:accent3>
      <a:accent4>
        <a:srgbClr val="838484"/>
      </a:accent4>
      <a:accent5>
        <a:srgbClr val="ADADAD"/>
      </a:accent5>
      <a:accent6>
        <a:srgbClr val="D6D6D6"/>
      </a:accent6>
      <a:hlink>
        <a:srgbClr val="0563C1"/>
      </a:hlink>
      <a:folHlink>
        <a:srgbClr val="954F72"/>
      </a:folHlink>
    </a:clrScheme>
    <a:fontScheme name="Actuaries">
      <a:majorFont>
        <a:latin typeface="ABC Oracle"/>
        <a:ea typeface=""/>
        <a:cs typeface=""/>
      </a:majorFont>
      <a:minorFont>
        <a:latin typeface="ABC Oracl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SToolbar2021.xlamTheme">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ASToolbar2021.xlamTheme">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ASToolbar2021.xlamTheme">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ASToolbar2021.xlamTheme">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ASToolbar2021.xlamTheme">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ASToolbar2021.xlamTheme">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ASToolbar2021.xlamTheme">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ASToolbar2021.xlamTheme">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MS Document" ma:contentTypeID="0x0101005B474B5874136940B1FCFFA385B6F80C00B91DFC3462D36342B5E9C63B1B6AF453" ma:contentTypeVersion="208" ma:contentTypeDescription="" ma:contentTypeScope="" ma:versionID="bad0d07f1b6e8c1b79345029eaf745f9">
  <xsd:schema xmlns:xsd="http://www.w3.org/2001/XMLSchema" xmlns:xs="http://www.w3.org/2001/XMLSchema" xmlns:p="http://schemas.microsoft.com/office/2006/metadata/properties" xmlns:ns1="http://schemas.microsoft.com/sharepoint/v3" xmlns:ns2="b9043e53-a078-4fe1-9a97-1dc890974721" xmlns:ns3="http://schemas.microsoft.com/sharepoint/v3/fields" xmlns:ns4="7c09f450-3099-4ab0-9797-308ed8a26daf" xmlns:ns5="7b3e9424-693f-4334-9dc1-37abbe098301" targetNamespace="http://schemas.microsoft.com/office/2006/metadata/properties" ma:root="true" ma:fieldsID="ada8bf7435599ade032303e531caa99a" ns1:_="" ns2:_="" ns3:_="" ns4:_="" ns5:_="">
    <xsd:import namespace="http://schemas.microsoft.com/sharepoint/v3"/>
    <xsd:import namespace="b9043e53-a078-4fe1-9a97-1dc890974721"/>
    <xsd:import namespace="http://schemas.microsoft.com/sharepoint/v3/fields"/>
    <xsd:import namespace="7c09f450-3099-4ab0-9797-308ed8a26daf"/>
    <xsd:import namespace="7b3e9424-693f-4334-9dc1-37abbe098301"/>
    <xsd:element name="properties">
      <xsd:complexType>
        <xsd:sequence>
          <xsd:element name="documentManagement">
            <xsd:complexType>
              <xsd:all>
                <xsd:element ref="ns1:_ExtendedDescription" minOccurs="0"/>
                <xsd:element ref="ns2:CMS_x0020_Document_x0020_ID" minOccurs="0"/>
                <xsd:element ref="ns2:Created-Date" minOccurs="0"/>
                <xsd:element ref="ns2:CPD" minOccurs="0"/>
                <xsd:element ref="ns2:External-link" minOccurs="0"/>
                <xsd:element ref="ns2:Membership" minOccurs="0"/>
                <xsd:element ref="ns2:No_x0020_Web_x0020_Index" minOccurs="0"/>
                <xsd:element ref="ns4:_dlc_DocIdUrl" minOccurs="0"/>
                <xsd:element ref="ns2:Start_x0020_publishing" minOccurs="0"/>
                <xsd:element ref="ns2:Level" minOccurs="0"/>
                <xsd:element ref="ns2:Age_x0020_Group" minOccurs="0"/>
                <xsd:element ref="ns2:Availability" minOccurs="0"/>
                <xsd:element ref="ns2:Stop_x0020_publishing" minOccurs="0"/>
                <xsd:element ref="ns2:Source_x0020_Document_x0020_ID" minOccurs="0"/>
                <xsd:element ref="ns2:new-release-expiry" minOccurs="0"/>
                <xsd:element ref="ns2:Region" minOccurs="0"/>
                <xsd:element ref="ns2:DMS_Type" minOccurs="0"/>
                <xsd:element ref="ns2:ifb2a14d9ef14379a3042bde0b0232b7" minOccurs="0"/>
                <xsd:element ref="ns2:na442cf9b07645d39bff0c316c917a88" minOccurs="0"/>
                <xsd:element ref="ns2:g6881e4ce23a4b13a21acda1c762ef3b" minOccurs="0"/>
                <xsd:element ref="ns2:c245b723492e46feb8c242c474f81c06" minOccurs="0"/>
                <xsd:element ref="ns2:TaxCatchAll" minOccurs="0"/>
                <xsd:element ref="ns2:TaxCatchAllLabel" minOccurs="0"/>
                <xsd:element ref="ns2:a1da6ed942364e6aa931c032ae078b9a" minOccurs="0"/>
                <xsd:element ref="ns2:lbd57a3197f24a75a016012f8260598a" minOccurs="0"/>
                <xsd:element ref="ns2:Published" minOccurs="0"/>
                <xsd:element ref="ns4:_dlc_DocId" minOccurs="0"/>
                <xsd:element ref="ns3:wic_System_Copyright" minOccurs="0"/>
                <xsd:element ref="ns4:_dlc_DocIdPersistId" minOccurs="0"/>
                <xsd:element ref="ns5:Lastupdated" minOccurs="0"/>
                <xsd:element ref="ns5: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ExtendedDescription" ma:index="2" nillable="true" ma:displayName="Description" ma:description="DMS Description" ma:format="Dropdown" ma:internalName="_ExtendedDescription" ma:readOnly="fals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9043e53-a078-4fe1-9a97-1dc890974721" elementFormDefault="qualified">
    <xsd:import namespace="http://schemas.microsoft.com/office/2006/documentManagement/types"/>
    <xsd:import namespace="http://schemas.microsoft.com/office/infopath/2007/PartnerControls"/>
    <xsd:element name="CMS_x0020_Document_x0020_ID" ma:index="3" nillable="true" ma:displayName="CMS Document ID" ma:description="ID of the document in CMS" ma:internalName="CMS_x0020_Document_x0020_ID" ma:readOnly="false">
      <xsd:simpleType>
        <xsd:restriction base="dms:Text">
          <xsd:maxLength value="255"/>
        </xsd:restriction>
      </xsd:simpleType>
    </xsd:element>
    <xsd:element name="Created-Date" ma:index="4" nillable="true" ma:displayName="Created-Date" ma:format="DateOnly" ma:internalName="Created_x002d_Date" ma:readOnly="false">
      <xsd:simpleType>
        <xsd:restriction base="dms:DateTime"/>
      </xsd:simpleType>
    </xsd:element>
    <xsd:element name="CPD" ma:index="6" nillable="true" ma:displayName="CPD" ma:decimals="2" ma:internalName="CPD" ma:readOnly="false">
      <xsd:simpleType>
        <xsd:restriction base="dms:Number"/>
      </xsd:simpleType>
    </xsd:element>
    <xsd:element name="External-link" ma:index="13" nillable="true" ma:displayName="External-link" ma:internalName="External_x002d_link" ma:readOnly="false">
      <xsd:simpleType>
        <xsd:restriction base="dms:Text">
          <xsd:maxLength value="255"/>
        </xsd:restriction>
      </xsd:simpleType>
    </xsd:element>
    <xsd:element name="Membership" ma:index="14" nillable="true" ma:displayName="Membership" ma:internalName="Membership" ma:readOnly="false">
      <xsd:simpleType>
        <xsd:restriction base="dms:Text">
          <xsd:maxLength value="255"/>
        </xsd:restriction>
      </xsd:simpleType>
    </xsd:element>
    <xsd:element name="No_x0020_Web_x0020_Index" ma:index="15" nillable="true" ma:displayName="No Web Index" ma:default="0" ma:internalName="No_x0020_Web_x0020_Index" ma:readOnly="false">
      <xsd:simpleType>
        <xsd:restriction base="dms:Boolean"/>
      </xsd:simpleType>
    </xsd:element>
    <xsd:element name="Start_x0020_publishing" ma:index="17" nillable="true" ma:displayName="Start publishing" ma:format="DateOnly" ma:hidden="true" ma:internalName="Start_x0020_publishing" ma:readOnly="false">
      <xsd:simpleType>
        <xsd:restriction base="dms:DateTime"/>
      </xsd:simpleType>
    </xsd:element>
    <xsd:element name="Level" ma:index="18" nillable="true" ma:displayName="Level" ma:hidden="true" ma:internalName="Level" ma:readOnly="false">
      <xsd:simpleType>
        <xsd:restriction base="dms:Text">
          <xsd:maxLength value="255"/>
        </xsd:restriction>
      </xsd:simpleType>
    </xsd:element>
    <xsd:element name="Age_x0020_Group" ma:index="19" nillable="true" ma:displayName="Age Group" ma:format="Dropdown" ma:hidden="true" ma:internalName="Age_x0020_Group" ma:readOnly="false">
      <xsd:simpleType>
        <xsd:restriction base="dms:Text">
          <xsd:maxLength value="255"/>
        </xsd:restriction>
      </xsd:simpleType>
    </xsd:element>
    <xsd:element name="Availability" ma:index="20" nillable="true" ma:displayName="Availability" ma:hidden="true" ma:internalName="Availability" ma:readOnly="false">
      <xsd:simpleType>
        <xsd:restriction base="dms:Text">
          <xsd:maxLength value="255"/>
        </xsd:restriction>
      </xsd:simpleType>
    </xsd:element>
    <xsd:element name="Stop_x0020_publishing" ma:index="21" nillable="true" ma:displayName="Stop publishing" ma:format="DateOnly" ma:hidden="true" ma:internalName="Stop_x0020_publishing" ma:readOnly="false">
      <xsd:simpleType>
        <xsd:restriction base="dms:DateTime"/>
      </xsd:simpleType>
    </xsd:element>
    <xsd:element name="Source_x0020_Document_x0020_ID" ma:index="22" nillable="true" ma:displayName="Source Document ID" ma:description="ID of the document in the Team Sites" ma:hidden="true" ma:internalName="Source_x0020_Document_x0020_ID" ma:readOnly="false">
      <xsd:simpleType>
        <xsd:restriction base="dms:Text">
          <xsd:maxLength value="255"/>
        </xsd:restriction>
      </xsd:simpleType>
    </xsd:element>
    <xsd:element name="new-release-expiry" ma:index="23" nillable="true" ma:displayName="new-release-expiry" ma:format="DateOnly" ma:hidden="true" ma:internalName="new_x002d_release_x002d_expiry" ma:readOnly="false">
      <xsd:simpleType>
        <xsd:restriction base="dms:DateTime"/>
      </xsd:simpleType>
    </xsd:element>
    <xsd:element name="Region" ma:index="24" nillable="true" ma:displayName="Region" ma:hidden="true" ma:internalName="Region" ma:readOnly="false">
      <xsd:simpleType>
        <xsd:restriction base="dms:Text">
          <xsd:maxLength value="255"/>
        </xsd:restriction>
      </xsd:simpleType>
    </xsd:element>
    <xsd:element name="DMS_Type" ma:index="25" nillable="true" ma:displayName="DMS_Type" ma:hidden="true" ma:internalName="DMS_Type" ma:readOnly="false">
      <xsd:simpleType>
        <xsd:restriction base="dms:Text">
          <xsd:maxLength value="255"/>
        </xsd:restriction>
      </xsd:simpleType>
    </xsd:element>
    <xsd:element name="ifb2a14d9ef14379a3042bde0b0232b7" ma:index="26" nillable="true" ma:taxonomy="true" ma:internalName="ifb2a14d9ef14379a3042bde0b0232b7" ma:taxonomyFieldName="Prototype_Content_Types" ma:displayName="Content_Types" ma:readOnly="false" ma:default="" ma:fieldId="{2fb2a14d-9ef1-4379-a304-2bde0b0232b7}" ma:sspId="599de3cb-4d49-453d-b800-5d7115dc628a" ma:termSetId="8bf43160-4240-4a14-b9c4-81e260e50208" ma:anchorId="00000000-0000-0000-0000-000000000000" ma:open="false" ma:isKeyword="false">
      <xsd:complexType>
        <xsd:sequence>
          <xsd:element ref="pc:Terms" minOccurs="0" maxOccurs="1"/>
        </xsd:sequence>
      </xsd:complexType>
    </xsd:element>
    <xsd:element name="na442cf9b07645d39bff0c316c917a88" ma:index="28" nillable="true" ma:taxonomy="true" ma:internalName="na442cf9b07645d39bff0c316c917a88" ma:taxonomyFieldName="Prototype_Education_Programs" ma:displayName="Qualifications_and_Lifelong_Learning" ma:readOnly="false" ma:default="" ma:fieldId="{7a442cf9-b076-45d3-9bff-0c316c917a88}" ma:taxonomyMulti="true" ma:sspId="599de3cb-4d49-453d-b800-5d7115dc628a" ma:termSetId="03d00ede-6ba3-415f-b99e-a9b924b20c9b" ma:anchorId="00000000-0000-0000-0000-000000000000" ma:open="false" ma:isKeyword="false">
      <xsd:complexType>
        <xsd:sequence>
          <xsd:element ref="pc:Terms" minOccurs="0" maxOccurs="1"/>
        </xsd:sequence>
      </xsd:complexType>
    </xsd:element>
    <xsd:element name="g6881e4ce23a4b13a21acda1c762ef3b" ma:index="30" nillable="true" ma:taxonomy="true" ma:internalName="g6881e4ce23a4b13a21acda1c762ef3b" ma:taxonomyFieldName="Prototype_Event_Types" ma:displayName="Event_Types" ma:readOnly="false" ma:default="" ma:fieldId="{06881e4c-e23a-4b13-a21a-cda1c762ef3b}" ma:sspId="599de3cb-4d49-453d-b800-5d7115dc628a" ma:termSetId="c11d6ec0-8d82-4edb-a7c3-61e9562d4773" ma:anchorId="00000000-0000-0000-0000-000000000000" ma:open="false" ma:isKeyword="false">
      <xsd:complexType>
        <xsd:sequence>
          <xsd:element ref="pc:Terms" minOccurs="0" maxOccurs="1"/>
        </xsd:sequence>
      </xsd:complexType>
    </xsd:element>
    <xsd:element name="c245b723492e46feb8c242c474f81c06" ma:index="32" nillable="true" ma:taxonomy="true" ma:internalName="c245b723492e46feb8c242c474f81c06" ma:taxonomyFieldName="Prototype_Tags" ma:displayName="DMS_Tags" ma:readOnly="false" ma:fieldId="{c245b723-492e-46fe-b8c2-42c474f81c06}" ma:taxonomyMulti="true" ma:sspId="599de3cb-4d49-453d-b800-5d7115dc628a" ma:termSetId="cb3da33c-e535-4ab0-b8bc-bc8e4c95dd5f" ma:anchorId="00000000-0000-0000-0000-000000000000" ma:open="false" ma:isKeyword="false">
      <xsd:complexType>
        <xsd:sequence>
          <xsd:element ref="pc:Terms" minOccurs="0" maxOccurs="1"/>
        </xsd:sequence>
      </xsd:complexType>
    </xsd:element>
    <xsd:element name="TaxCatchAll" ma:index="33" nillable="true" ma:displayName="Taxonomy Catch All Column" ma:hidden="true" ma:list="{a99bd1f2-8352-44bd-99e3-18fccfc5b22e}" ma:internalName="TaxCatchAll" ma:readOnly="false" ma:showField="CatchAllData" ma:web="7c09f450-3099-4ab0-9797-308ed8a26daf">
      <xsd:complexType>
        <xsd:complexContent>
          <xsd:extension base="dms:MultiChoiceLookup">
            <xsd:sequence>
              <xsd:element name="Value" type="dms:Lookup" maxOccurs="unbounded" minOccurs="0" nillable="true"/>
            </xsd:sequence>
          </xsd:extension>
        </xsd:complexContent>
      </xsd:complexType>
    </xsd:element>
    <xsd:element name="TaxCatchAllLabel" ma:index="34" nillable="true" ma:displayName="Taxonomy Catch All Column1" ma:hidden="true" ma:list="{a99bd1f2-8352-44bd-99e3-18fccfc5b22e}" ma:internalName="TaxCatchAllLabel" ma:readOnly="false" ma:showField="CatchAllDataLabel" ma:web="7c09f450-3099-4ab0-9797-308ed8a26daf">
      <xsd:complexType>
        <xsd:complexContent>
          <xsd:extension base="dms:MultiChoiceLookup">
            <xsd:sequence>
              <xsd:element name="Value" type="dms:Lookup" maxOccurs="unbounded" minOccurs="0" nillable="true"/>
            </xsd:sequence>
          </xsd:extension>
        </xsd:complexContent>
      </xsd:complexType>
    </xsd:element>
    <xsd:element name="a1da6ed942364e6aa931c032ae078b9a" ma:index="37" nillable="true" ma:taxonomy="true" ma:internalName="a1da6ed942364e6aa931c032ae078b9a" ma:taxonomyFieldName="Prototype_CPD_Activity_Format" ma:displayName="CPD_Activity_Format" ma:readOnly="false" ma:default="" ma:fieldId="{a1da6ed9-4236-4e6a-a931-c032ae078b9a}" ma:sspId="599de3cb-4d49-453d-b800-5d7115dc628a" ma:termSetId="4bf07c46-5940-460a-b59f-14a3af91a71d" ma:anchorId="00000000-0000-0000-0000-000000000000" ma:open="false" ma:isKeyword="false">
      <xsd:complexType>
        <xsd:sequence>
          <xsd:element ref="pc:Terms" minOccurs="0" maxOccurs="1"/>
        </xsd:sequence>
      </xsd:complexType>
    </xsd:element>
    <xsd:element name="lbd57a3197f24a75a016012f8260598a" ma:index="38" nillable="true" ma:taxonomy="true" ma:internalName="lbd57a3197f24a75a016012f8260598a" ma:taxonomyFieldName="Prototype_Practice_Area" ma:displayName="Practice_Area" ma:readOnly="false" ma:default="" ma:fieldId="{5bd57a31-97f2-4a75-a016-012f8260598a}" ma:taxonomyMulti="true" ma:sspId="599de3cb-4d49-453d-b800-5d7115dc628a" ma:termSetId="82bf7a2a-7f43-4f1c-b7bb-4a3a0ba5f298" ma:anchorId="00000000-0000-0000-0000-000000000000" ma:open="false" ma:isKeyword="false">
      <xsd:complexType>
        <xsd:sequence>
          <xsd:element ref="pc:Terms" minOccurs="0" maxOccurs="1"/>
        </xsd:sequence>
      </xsd:complexType>
    </xsd:element>
    <xsd:element name="Published" ma:index="40" nillable="true" ma:displayName="Published" ma:default="0" ma:hidden="true" ma:internalName="Published" ma:readOnly="fal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42" nillable="true" ma:displayName="Copyright" ma:hidden="true" ma:internalName="wic_System_Copyright"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c09f450-3099-4ab0-9797-308ed8a26daf" elementFormDefault="qualified">
    <xsd:import namespace="http://schemas.microsoft.com/office/2006/documentManagement/types"/>
    <xsd:import namespace="http://schemas.microsoft.com/office/infopath/2007/PartnerControls"/>
    <xsd:element name="_dlc_DocIdUrl" ma:index="16" nillable="true" ma:displayName="Document ID" ma:description="Permanent link to this doc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41" nillable="true" ma:displayName="Document ID Value" ma:description="The value of the document ID assigned to this item." ma:hidden="true" ma:indexed="true" ma:internalName="_dlc_DocId" ma:readOnly="false">
      <xsd:simpleType>
        <xsd:restriction base="dms:Text"/>
      </xsd:simpleType>
    </xsd:element>
    <xsd:element name="_dlc_DocIdPersistId" ma:index="43" nillable="true" ma:displayName="Persist ID" ma:description="Keep ID on add." ma:hidden="true" ma:internalName="_dlc_DocIdPersistId" ma:readOnly="fal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7b3e9424-693f-4334-9dc1-37abbe098301" elementFormDefault="qualified">
    <xsd:import namespace="http://schemas.microsoft.com/office/2006/documentManagement/types"/>
    <xsd:import namespace="http://schemas.microsoft.com/office/infopath/2007/PartnerControls"/>
    <xsd:element name="Lastupdated" ma:index="44" nillable="true" ma:displayName="Last updated" ma:format="DateOnly" ma:internalName="Lastupdated">
      <xsd:simpleType>
        <xsd:restriction base="dms:DateTime"/>
      </xsd:simpleType>
    </xsd:element>
    <xsd:element name="MediaServiceBillingMetadata" ma:index="45"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5" ma:displayName="Author"/>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b9043e53-a078-4fe1-9a97-1dc890974721">
      <Value>33</Value>
      <Value>40</Value>
      <Value>38</Value>
      <Value>158</Value>
      <Value>29</Value>
    </TaxCatchAll>
    <_dlc_DocId xmlns="7c09f450-3099-4ab0-9797-308ed8a26daf">CE6YYQN64SX3-786882053-16621</_dlc_DocId>
    <Lastupdated xmlns="7b3e9424-693f-4334-9dc1-37abbe098301" xsi:nil="true"/>
    <Stop_x0020_publishing xmlns="b9043e53-a078-4fe1-9a97-1dc890974721" xsi:nil="true"/>
    <Region xmlns="b9043e53-a078-4fe1-9a97-1dc890974721" xsi:nil="true"/>
    <No_x0020_Web_x0020_Index xmlns="b9043e53-a078-4fe1-9a97-1dc890974721">false</No_x0020_Web_x0020_Index>
    <_dlc_DocIdUrl xmlns="7c09f450-3099-4ab0-9797-308ed8a26daf">
      <Url>https://actuaries.sharepoint.com/sites/DMS/_layouts/15/DocIdRedir.aspx?ID=CE6YYQN64SX3-786882053-16621</Url>
      <Description>CE6YYQN64SX3-786882053-16621</Description>
    </_dlc_DocIdUrl>
    <Start_x0020_publishing xmlns="b9043e53-a078-4fe1-9a97-1dc890974721" xsi:nil="true"/>
    <na442cf9b07645d39bff0c316c917a88 xmlns="b9043e53-a078-4fe1-9a97-1dc890974721">
      <Terms xmlns="http://schemas.microsoft.com/office/infopath/2007/PartnerControls"/>
    </na442cf9b07645d39bff0c316c917a88>
    <Published xmlns="b9043e53-a078-4fe1-9a97-1dc890974721">false</Published>
    <Level xmlns="b9043e53-a078-4fe1-9a97-1dc890974721" xsi:nil="true"/>
    <Availability xmlns="b9043e53-a078-4fe1-9a97-1dc890974721" xsi:nil="true"/>
    <_ExtendedDescription xmlns="http://schemas.microsoft.com/sharepoint/v3">E-micromobility, including e-scooters and e-bikes, is seeing rapid growth in usage across Australia. As these forms of transport become more integrated into daily travel and shift urban transport patterns, they are presenting new challenges for Compulsory Third Party (CTP) insurance. With emerging accident types and risk profiles, it is crucial to understand how these developments are influencing the nature of insurance claims. Currently, e-scooters and e-bikes are not required to be registered and therefore users cannot purchase CTP insurance, yet their increasing presence on our roads may significantly impact the CTP scheme. In this session we will analyse the trends, user demographics and types of injuries commonly associated with e-micromobility devices and explore the potential implications for the NSW CTP Scheme. Attendees will leave with a comprehensive understanding of the challenges and considerations that e-micromobility presents for CTP insurance in Australia.</_ExtendedDescription>
    <External-link xmlns="b9043e53-a078-4fe1-9a97-1dc890974721" xsi:nil="true"/>
    <c245b723492e46feb8c242c474f81c06 xmlns="b9043e53-a078-4fe1-9a97-1dc890974721">
      <Terms xmlns="http://schemas.microsoft.com/office/infopath/2007/PartnerControls">
        <TermInfo xmlns="http://schemas.microsoft.com/office/infopath/2007/PartnerControls">
          <TermName xmlns="http://schemas.microsoft.com/office/infopath/2007/PartnerControls">Past Event</TermName>
          <TermId xmlns="http://schemas.microsoft.com/office/infopath/2007/PartnerControls">81820cd3-45f0-44e5-97c3-ef5505ffe26e</TermId>
        </TermInfo>
        <TermInfo xmlns="http://schemas.microsoft.com/office/infopath/2007/PartnerControls">
          <TermName xmlns="http://schemas.microsoft.com/office/infopath/2007/PartnerControls">Injury and Disability Schemes Seminar</TermName>
          <TermId xmlns="http://schemas.microsoft.com/office/infopath/2007/PartnerControls">ab110189-a7f0-4e28-a459-50d83a5b53b2</TermId>
        </TermInfo>
      </Terms>
    </c245b723492e46feb8c242c474f81c06>
    <lbd57a3197f24a75a016012f8260598a xmlns="b9043e53-a078-4fe1-9a97-1dc890974721">
      <Terms xmlns="http://schemas.microsoft.com/office/infopath/2007/PartnerControls"/>
    </lbd57a3197f24a75a016012f8260598a>
    <ifb2a14d9ef14379a3042bde0b0232b7 xmlns="b9043e53-a078-4fe1-9a97-1dc890974721">
      <Terms xmlns="http://schemas.microsoft.com/office/infopath/2007/PartnerControls">
        <TermInfo xmlns="http://schemas.microsoft.com/office/infopath/2007/PartnerControls">
          <TermName xmlns="http://schemas.microsoft.com/office/infopath/2007/PartnerControls">Presentation slides</TermName>
          <TermId xmlns="http://schemas.microsoft.com/office/infopath/2007/PartnerControls">82514a72-d478-4557-818e-561b0f30fbaf</TermId>
        </TermInfo>
      </Terms>
    </ifb2a14d9ef14379a3042bde0b0232b7>
    <g6881e4ce23a4b13a21acda1c762ef3b xmlns="b9043e53-a078-4fe1-9a97-1dc890974721">
      <Terms xmlns="http://schemas.microsoft.com/office/infopath/2007/PartnerControls">
        <TermInfo xmlns="http://schemas.microsoft.com/office/infopath/2007/PartnerControls">
          <TermName xmlns="http://schemas.microsoft.com/office/infopath/2007/PartnerControls">Major Events</TermName>
          <TermId xmlns="http://schemas.microsoft.com/office/infopath/2007/PartnerControls">741f9fd0-c1f0-4e98-ad79-70afc16eedf5</TermId>
        </TermInfo>
      </Terms>
    </g6881e4ce23a4b13a21acda1c762ef3b>
    <TaxCatchAllLabel xmlns="b9043e53-a078-4fe1-9a97-1dc890974721" xsi:nil="true"/>
    <_dlc_DocIdPersistId xmlns="7c09f450-3099-4ab0-9797-308ed8a26daf" xsi:nil="true"/>
    <Source_x0020_Document_x0020_ID xmlns="b9043e53-a078-4fe1-9a97-1dc890974721" xsi:nil="true"/>
    <Age_x0020_Group xmlns="b9043e53-a078-4fe1-9a97-1dc890974721" xsi:nil="true"/>
    <a1da6ed942364e6aa931c032ae078b9a xmlns="b9043e53-a078-4fe1-9a97-1dc890974721">
      <Terms xmlns="http://schemas.microsoft.com/office/infopath/2007/PartnerControls">
        <TermInfo xmlns="http://schemas.microsoft.com/office/infopath/2007/PartnerControls">
          <TermName xmlns="http://schemas.microsoft.com/office/infopath/2007/PartnerControls">Presentation Slides</TermName>
          <TermId xmlns="http://schemas.microsoft.com/office/infopath/2007/PartnerControls">d40094d7-41bb-4670-ae67-14554674b2a3</TermId>
        </TermInfo>
      </Terms>
    </a1da6ed942364e6aa931c032ae078b9a>
    <CPD xmlns="b9043e53-a078-4fe1-9a97-1dc890974721">1</CPD>
    <Membership xmlns="b9043e53-a078-4fe1-9a97-1dc890974721" xsi:nil="true"/>
    <DMS_Type xmlns="b9043e53-a078-4fe1-9a97-1dc890974721" xsi:nil="true"/>
    <CMS_x0020_Document_x0020_ID xmlns="b9043e53-a078-4fe1-9a97-1dc890974721" xsi:nil="true"/>
    <Created-Date xmlns="b9043e53-a078-4fe1-9a97-1dc890974721">2025-11-16T13:00:00+00:00</Created-Date>
    <wic_System_Copyright xmlns="http://schemas.microsoft.com/sharepoint/v3/fields" xsi:nil="true"/>
    <new-release-expiry xmlns="b9043e53-a078-4fe1-9a97-1dc89097472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599de3cb-4d49-453d-b800-5d7115dc628a" ContentTypeId="0x0101005B474B5874136940B1FCFFA385B6F80C"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01BC1428-972A-490F-9246-62919EDF57B6}"/>
</file>

<file path=customXml/itemProps2.xml><?xml version="1.0" encoding="utf-8"?>
<ds:datastoreItem xmlns:ds="http://schemas.openxmlformats.org/officeDocument/2006/customXml" ds:itemID="{23A7F36D-13F6-4DF0-A1FA-99BF5BE8352E}">
  <ds:schemaRefs>
    <ds:schemaRef ds:uri="http://purl.org/dc/dcmitype/"/>
    <ds:schemaRef ds:uri="28a3a489-33b7-4904-a7c4-3101f36aace8"/>
    <ds:schemaRef ds:uri="http://schemas.microsoft.com/office/2006/documentManagement/types"/>
    <ds:schemaRef ds:uri="http://purl.org/dc/terms/"/>
    <ds:schemaRef ds:uri="http://www.w3.org/XML/1998/namespace"/>
    <ds:schemaRef ds:uri="http://schemas.openxmlformats.org/package/2006/metadata/core-properties"/>
    <ds:schemaRef ds:uri="http://schemas.microsoft.com/office/infopath/2007/PartnerControls"/>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D1C5BB3B-F372-43FF-9698-4AAF69CFC0DE}">
  <ds:schemaRefs>
    <ds:schemaRef ds:uri="http://schemas.microsoft.com/sharepoint/v3/contenttype/forms"/>
  </ds:schemaRefs>
</ds:datastoreItem>
</file>

<file path=customXml/itemProps4.xml><?xml version="1.0" encoding="utf-8"?>
<ds:datastoreItem xmlns:ds="http://schemas.openxmlformats.org/officeDocument/2006/customXml" ds:itemID="{2E76EF9C-00A6-4BE6-8B37-BFDCDF6BF573}"/>
</file>

<file path=customXml/itemProps5.xml><?xml version="1.0" encoding="utf-8"?>
<ds:datastoreItem xmlns:ds="http://schemas.openxmlformats.org/officeDocument/2006/customXml" ds:itemID="{F30944DD-59AD-49B5-852B-2E8276EACD74}"/>
</file>

<file path=docProps/app.xml><?xml version="1.0" encoding="utf-8"?>
<Properties xmlns="http://schemas.openxmlformats.org/officeDocument/2006/extended-properties" xmlns:vt="http://schemas.openxmlformats.org/officeDocument/2006/docPropsVTypes">
  <TotalTime>27472</TotalTime>
  <Words>1109</Words>
  <Application>Microsoft Office PowerPoint</Application>
  <PresentationFormat>Widescreen</PresentationFormat>
  <Paragraphs>315</Paragraphs>
  <Slides>12</Slides>
  <Notes>1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2" baseType="lpstr">
      <vt:lpstr>ABC Oracle</vt:lpstr>
      <vt:lpstr>ABC Oracle Medium</vt:lpstr>
      <vt:lpstr>Arial</vt:lpstr>
      <vt:lpstr>Calibri</vt:lpstr>
      <vt:lpstr>Century Gothic</vt:lpstr>
      <vt:lpstr>EYInterstate</vt:lpstr>
      <vt:lpstr>EYInterstate Light</vt:lpstr>
      <vt:lpstr>EYInterstate Regular</vt:lpstr>
      <vt:lpstr>Office Theme</vt:lpstr>
      <vt:lpstr>think-cell Slide</vt:lpstr>
      <vt:lpstr>The rise of e-micromobility</vt:lpstr>
      <vt:lpstr>The evolution of e-micromobility</vt:lpstr>
      <vt:lpstr>Global snapshot</vt:lpstr>
      <vt:lpstr>E-micromobility in NSW</vt:lpstr>
      <vt:lpstr>The policy problem</vt:lpstr>
      <vt:lpstr>How things have progressed</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DSS 2025: The rise of e-micromobility: Implications for the NSW CTP Scheme</dc:title>
  <dc:creator>NIng An and Belinda Ernst</dc:creator>
  <cp:lastModifiedBy>Ning An</cp:lastModifiedBy>
  <cp:revision>28</cp:revision>
  <dcterms:created xsi:type="dcterms:W3CDTF">2023-05-24T00:01:03Z</dcterms:created>
  <dcterms:modified xsi:type="dcterms:W3CDTF">2025-11-14T04:46: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B474B5874136940B1FCFFA385B6F80C00B91DFC3462D36342B5E9C63B1B6AF453</vt:lpwstr>
  </property>
  <property fmtid="{D5CDD505-2E9C-101B-9397-08002B2CF9AE}" pid="3" name="MediaServiceImageTags">
    <vt:lpwstr/>
  </property>
  <property fmtid="{D5CDD505-2E9C-101B-9397-08002B2CF9AE}" pid="4" name="_dlc_DocIdItemGuid">
    <vt:lpwstr>9e67e4f1-04f6-428c-9cd2-c7c0322892bd</vt:lpwstr>
  </property>
  <property fmtid="{D5CDD505-2E9C-101B-9397-08002B2CF9AE}" pid="5" name="Prototype_Education_Programs">
    <vt:lpwstr/>
  </property>
  <property fmtid="{D5CDD505-2E9C-101B-9397-08002B2CF9AE}" pid="6" name="Prototype_CPD_Activity_Format">
    <vt:lpwstr>33;#Presentation Slides|d40094d7-41bb-4670-ae67-14554674b2a3</vt:lpwstr>
  </property>
  <property fmtid="{D5CDD505-2E9C-101B-9397-08002B2CF9AE}" pid="7" name="Prototype_Practice_Area">
    <vt:lpwstr/>
  </property>
  <property fmtid="{D5CDD505-2E9C-101B-9397-08002B2CF9AE}" pid="8" name="Prototype_Content_Types">
    <vt:lpwstr>29;#Presentation slides|82514a72-d478-4557-818e-561b0f30fbaf</vt:lpwstr>
  </property>
  <property fmtid="{D5CDD505-2E9C-101B-9397-08002B2CF9AE}" pid="9" name="Prototype_Tags">
    <vt:lpwstr>40;#Past Event|81820cd3-45f0-44e5-97c3-ef5505ffe26e;#158;#Injury and Disability Schemes Seminar|ab110189-a7f0-4e28-a459-50d83a5b53b2</vt:lpwstr>
  </property>
  <property fmtid="{D5CDD505-2E9C-101B-9397-08002B2CF9AE}" pid="10" name="lcf76f155ced4ddcb4097134ff3c332f">
    <vt:lpwstr/>
  </property>
  <property fmtid="{D5CDD505-2E9C-101B-9397-08002B2CF9AE}" pid="11" name="Prototype_Event_Types">
    <vt:lpwstr>38;#Major Events|741f9fd0-c1f0-4e98-ad79-70afc16eedf5</vt:lpwstr>
  </property>
</Properties>
</file>